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2452" r:id="rId5"/>
    <p:sldId id="2454" r:id="rId6"/>
    <p:sldId id="2455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96B749-DAE8-43FC-8911-8545BA6B0652}">
          <p14:sldIdLst>
            <p14:sldId id="2452"/>
            <p14:sldId id="2454"/>
            <p14:sldId id="2455"/>
          </p14:sldIdLst>
        </p14:section>
        <p14:section name="Appendix" id="{BE4B2D4B-9B7B-4702-9D87-0D14958318AD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65AC38E-9379-3CC6-350A-A06B3BF7C80B}" name="Deekshit Chitwala" initials="DC" userId="S::deekshit_chitwala@merilytics.com::6c1ad62c-6583-48bf-bfed-b38f084f455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216D"/>
    <a:srgbClr val="A1C11E"/>
    <a:srgbClr val="B1CF4C"/>
    <a:srgbClr val="003F5C"/>
    <a:srgbClr val="DC6B9B"/>
    <a:srgbClr val="8E8B86"/>
    <a:srgbClr val="FFB42A"/>
    <a:srgbClr val="4E4C81"/>
    <a:srgbClr val="FDFEFE"/>
    <a:srgbClr val="FFA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50" d="100"/>
          <a:sy n="50" d="100"/>
        </p:scale>
        <p:origin x="1284" y="4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AB7570-3A55-466B-86AE-6F23A13BF31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9B130A71-C69A-4277-8465-DBEBB9140A01}">
      <dgm:prSet phldrT="[Text]"/>
      <dgm:spPr/>
      <dgm:t>
        <a:bodyPr/>
        <a:lstStyle/>
        <a:p>
          <a:r>
            <a:rPr lang="en-US" dirty="0"/>
            <a:t>eCommerce Booms</a:t>
          </a:r>
        </a:p>
      </dgm:t>
    </dgm:pt>
    <dgm:pt modelId="{F143047E-A992-4FAA-B8B7-921EF3513AA5}" type="parTrans" cxnId="{C09A7815-B9F1-4720-A507-2EAA2256BE3B}">
      <dgm:prSet/>
      <dgm:spPr/>
      <dgm:t>
        <a:bodyPr/>
        <a:lstStyle/>
        <a:p>
          <a:endParaRPr lang="en-US"/>
        </a:p>
      </dgm:t>
    </dgm:pt>
    <dgm:pt modelId="{59F44696-E2BC-42EB-B467-E04E2000DE8C}" type="sibTrans" cxnId="{C09A7815-B9F1-4720-A507-2EAA2256BE3B}">
      <dgm:prSet/>
      <dgm:spPr/>
      <dgm:t>
        <a:bodyPr/>
        <a:lstStyle/>
        <a:p>
          <a:endParaRPr lang="en-US"/>
        </a:p>
      </dgm:t>
    </dgm:pt>
    <dgm:pt modelId="{2B2492AD-AD05-4C39-BBFA-9E00B6C523CD}">
      <dgm:prSet phldrT="[Text]"/>
      <dgm:spPr/>
      <dgm:t>
        <a:bodyPr/>
        <a:lstStyle/>
        <a:p>
          <a:r>
            <a:rPr lang="en-US" dirty="0"/>
            <a:t>Intra-brand competition</a:t>
          </a:r>
        </a:p>
      </dgm:t>
    </dgm:pt>
    <dgm:pt modelId="{5CD6A91F-65E4-4CFF-A7AE-3A2A858F3DE1}" type="parTrans" cxnId="{6F0104B9-F93E-46D2-9964-1F8CF782614E}">
      <dgm:prSet/>
      <dgm:spPr/>
      <dgm:t>
        <a:bodyPr/>
        <a:lstStyle/>
        <a:p>
          <a:endParaRPr lang="en-US"/>
        </a:p>
      </dgm:t>
    </dgm:pt>
    <dgm:pt modelId="{6AC3AAC3-3063-43EA-9FAE-4E18689EDEF6}" type="sibTrans" cxnId="{6F0104B9-F93E-46D2-9964-1F8CF782614E}">
      <dgm:prSet/>
      <dgm:spPr/>
      <dgm:t>
        <a:bodyPr/>
        <a:lstStyle/>
        <a:p>
          <a:endParaRPr lang="en-US"/>
        </a:p>
      </dgm:t>
    </dgm:pt>
    <dgm:pt modelId="{83EEAD3C-9662-4CFF-9F00-7FA09D4F6C57}">
      <dgm:prSet phldrT="[Text]"/>
      <dgm:spPr/>
      <dgm:t>
        <a:bodyPr/>
        <a:lstStyle/>
        <a:p>
          <a:r>
            <a:rPr lang="en-US" dirty="0"/>
            <a:t>Lost Buy Box</a:t>
          </a:r>
        </a:p>
      </dgm:t>
    </dgm:pt>
    <dgm:pt modelId="{BC6B2B7D-1BC1-4F2C-BF3A-2B80918747A5}" type="parTrans" cxnId="{0703C5B8-F548-4578-A913-B1C47790CD90}">
      <dgm:prSet/>
      <dgm:spPr/>
      <dgm:t>
        <a:bodyPr/>
        <a:lstStyle/>
        <a:p>
          <a:endParaRPr lang="en-US"/>
        </a:p>
      </dgm:t>
    </dgm:pt>
    <dgm:pt modelId="{419C5A1F-1A89-4CE0-94A4-A6E54B4C3A1D}" type="sibTrans" cxnId="{0703C5B8-F548-4578-A913-B1C47790CD90}">
      <dgm:prSet/>
      <dgm:spPr/>
      <dgm:t>
        <a:bodyPr/>
        <a:lstStyle/>
        <a:p>
          <a:endParaRPr lang="en-US"/>
        </a:p>
      </dgm:t>
    </dgm:pt>
    <dgm:pt modelId="{A0985ED1-7643-48C2-BA01-4BBA68E878DC}">
      <dgm:prSet phldrT="[Text]"/>
      <dgm:spPr/>
      <dgm:t>
        <a:bodyPr/>
        <a:lstStyle/>
        <a:p>
          <a:r>
            <a:rPr lang="en-US" dirty="0"/>
            <a:t>3P sellers flock to marketplaces</a:t>
          </a:r>
        </a:p>
      </dgm:t>
    </dgm:pt>
    <dgm:pt modelId="{9685D01E-5371-47B2-82C4-EE399E49E565}" type="parTrans" cxnId="{3D98402E-9CAB-4B14-95F7-A9DB227CFB5F}">
      <dgm:prSet/>
      <dgm:spPr/>
      <dgm:t>
        <a:bodyPr/>
        <a:lstStyle/>
        <a:p>
          <a:endParaRPr lang="en-US"/>
        </a:p>
      </dgm:t>
    </dgm:pt>
    <dgm:pt modelId="{63ACA131-4155-4A34-9846-E2AA49EDFAFF}" type="sibTrans" cxnId="{3D98402E-9CAB-4B14-95F7-A9DB227CFB5F}">
      <dgm:prSet/>
      <dgm:spPr/>
      <dgm:t>
        <a:bodyPr/>
        <a:lstStyle/>
        <a:p>
          <a:endParaRPr lang="en-US"/>
        </a:p>
      </dgm:t>
    </dgm:pt>
    <dgm:pt modelId="{81E0F706-846B-4A8B-998E-4441D5447D4F}">
      <dgm:prSet phldrT="[Text]"/>
      <dgm:spPr/>
      <dgm:t>
        <a:bodyPr/>
        <a:lstStyle/>
        <a:p>
          <a:r>
            <a:rPr lang="en-US" dirty="0"/>
            <a:t>Brick &amp; mortar match online prices</a:t>
          </a:r>
        </a:p>
      </dgm:t>
    </dgm:pt>
    <dgm:pt modelId="{25EE5AF6-246E-4FE1-80E4-0C87D479FC4E}" type="parTrans" cxnId="{282EC9F4-915E-4E16-9F7B-FE950F32209B}">
      <dgm:prSet/>
      <dgm:spPr/>
      <dgm:t>
        <a:bodyPr/>
        <a:lstStyle/>
        <a:p>
          <a:endParaRPr lang="en-US"/>
        </a:p>
      </dgm:t>
    </dgm:pt>
    <dgm:pt modelId="{973E3835-D8C9-46A1-9F2B-884C56D555E9}" type="sibTrans" cxnId="{282EC9F4-915E-4E16-9F7B-FE950F32209B}">
      <dgm:prSet/>
      <dgm:spPr/>
      <dgm:t>
        <a:bodyPr/>
        <a:lstStyle/>
        <a:p>
          <a:endParaRPr lang="en-US"/>
        </a:p>
      </dgm:t>
    </dgm:pt>
    <dgm:pt modelId="{0D182899-7A54-4C72-88CD-397691724E32}">
      <dgm:prSet phldrT="[Text]"/>
      <dgm:spPr/>
      <dgm:t>
        <a:bodyPr/>
        <a:lstStyle/>
        <a:p>
          <a:r>
            <a:rPr lang="en-US" dirty="0"/>
            <a:t>Retail profits decline</a:t>
          </a:r>
        </a:p>
      </dgm:t>
    </dgm:pt>
    <dgm:pt modelId="{2F419330-73D4-45EA-A0E4-F219B15F8260}" type="parTrans" cxnId="{7A74A10D-FF0C-4678-A7B3-497DAE3D3EFB}">
      <dgm:prSet/>
      <dgm:spPr/>
      <dgm:t>
        <a:bodyPr/>
        <a:lstStyle/>
        <a:p>
          <a:endParaRPr lang="en-US"/>
        </a:p>
      </dgm:t>
    </dgm:pt>
    <dgm:pt modelId="{44B7E1F0-242E-42AC-9B46-AC15CD0AF49C}" type="sibTrans" cxnId="{7A74A10D-FF0C-4678-A7B3-497DAE3D3EFB}">
      <dgm:prSet/>
      <dgm:spPr/>
      <dgm:t>
        <a:bodyPr/>
        <a:lstStyle/>
        <a:p>
          <a:endParaRPr lang="en-US"/>
        </a:p>
      </dgm:t>
    </dgm:pt>
    <dgm:pt modelId="{293AF2C3-C540-445B-A6FC-65FFA810E379}">
      <dgm:prSet phldrT="[Text]"/>
      <dgm:spPr/>
      <dgm:t>
        <a:bodyPr/>
        <a:lstStyle/>
        <a:p>
          <a:r>
            <a:rPr lang="en-US" dirty="0"/>
            <a:t>eCommerce profits decline</a:t>
          </a:r>
        </a:p>
      </dgm:t>
    </dgm:pt>
    <dgm:pt modelId="{930D6F6F-FA1F-4370-BC35-0F68582AD083}" type="parTrans" cxnId="{27713301-E016-4F10-8953-96D719D24FD0}">
      <dgm:prSet/>
      <dgm:spPr/>
      <dgm:t>
        <a:bodyPr/>
        <a:lstStyle/>
        <a:p>
          <a:endParaRPr lang="en-US"/>
        </a:p>
      </dgm:t>
    </dgm:pt>
    <dgm:pt modelId="{D1748915-283F-42C2-99E9-BE07EC4E6589}" type="sibTrans" cxnId="{27713301-E016-4F10-8953-96D719D24FD0}">
      <dgm:prSet/>
      <dgm:spPr/>
      <dgm:t>
        <a:bodyPr/>
        <a:lstStyle/>
        <a:p>
          <a:endParaRPr lang="en-US"/>
        </a:p>
      </dgm:t>
    </dgm:pt>
    <dgm:pt modelId="{BE9F0B7D-EE19-4089-A1F7-7848C663BCFF}">
      <dgm:prSet phldrT="[Text]"/>
      <dgm:spPr/>
      <dgm:t>
        <a:bodyPr/>
        <a:lstStyle/>
        <a:p>
          <a:r>
            <a:rPr lang="en-US" dirty="0"/>
            <a:t>All channels less profitable</a:t>
          </a:r>
        </a:p>
      </dgm:t>
    </dgm:pt>
    <dgm:pt modelId="{400A8E56-7347-4CA8-8241-7BA95B630EDD}" type="parTrans" cxnId="{B2629567-B3F1-498A-8BCA-A06C892438B4}">
      <dgm:prSet/>
      <dgm:spPr/>
      <dgm:t>
        <a:bodyPr/>
        <a:lstStyle/>
        <a:p>
          <a:endParaRPr lang="en-US"/>
        </a:p>
      </dgm:t>
    </dgm:pt>
    <dgm:pt modelId="{457E1B62-FDDE-4C08-964C-8A55F21D1B28}" type="sibTrans" cxnId="{B2629567-B3F1-498A-8BCA-A06C892438B4}">
      <dgm:prSet/>
      <dgm:spPr/>
      <dgm:t>
        <a:bodyPr/>
        <a:lstStyle/>
        <a:p>
          <a:endParaRPr lang="en-US"/>
        </a:p>
      </dgm:t>
    </dgm:pt>
    <dgm:pt modelId="{3A406047-5C33-41AE-90EC-A9EFB6558351}" type="pres">
      <dgm:prSet presAssocID="{08AB7570-3A55-466B-86AE-6F23A13BF310}" presName="Name0" presStyleCnt="0">
        <dgm:presLayoutVars>
          <dgm:dir/>
          <dgm:resizeHandles val="exact"/>
        </dgm:presLayoutVars>
      </dgm:prSet>
      <dgm:spPr/>
    </dgm:pt>
    <dgm:pt modelId="{12B5927F-4EF1-40DB-A8E4-20425F55A274}" type="pres">
      <dgm:prSet presAssocID="{9B130A71-C69A-4277-8465-DBEBB9140A01}" presName="parTxOnly" presStyleLbl="node1" presStyleIdx="0" presStyleCnt="8">
        <dgm:presLayoutVars>
          <dgm:bulletEnabled val="1"/>
        </dgm:presLayoutVars>
      </dgm:prSet>
      <dgm:spPr/>
    </dgm:pt>
    <dgm:pt modelId="{FE1E7AA4-A144-4E4F-BD7D-C775DFC2B9D4}" type="pres">
      <dgm:prSet presAssocID="{59F44696-E2BC-42EB-B467-E04E2000DE8C}" presName="parSpace" presStyleCnt="0"/>
      <dgm:spPr/>
    </dgm:pt>
    <dgm:pt modelId="{067F1C5C-AA7A-43BE-AAEE-11EFB1519159}" type="pres">
      <dgm:prSet presAssocID="{A0985ED1-7643-48C2-BA01-4BBA68E878DC}" presName="parTxOnly" presStyleLbl="node1" presStyleIdx="1" presStyleCnt="8">
        <dgm:presLayoutVars>
          <dgm:bulletEnabled val="1"/>
        </dgm:presLayoutVars>
      </dgm:prSet>
      <dgm:spPr/>
    </dgm:pt>
    <dgm:pt modelId="{A81CA201-C9AC-4299-B80C-57C74F1AF1C6}" type="pres">
      <dgm:prSet presAssocID="{63ACA131-4155-4A34-9846-E2AA49EDFAFF}" presName="parSpace" presStyleCnt="0"/>
      <dgm:spPr/>
    </dgm:pt>
    <dgm:pt modelId="{50026CE2-36BB-40DD-958D-F1A0992B7CD7}" type="pres">
      <dgm:prSet presAssocID="{2B2492AD-AD05-4C39-BBFA-9E00B6C523CD}" presName="parTxOnly" presStyleLbl="node1" presStyleIdx="2" presStyleCnt="8">
        <dgm:presLayoutVars>
          <dgm:bulletEnabled val="1"/>
        </dgm:presLayoutVars>
      </dgm:prSet>
      <dgm:spPr/>
    </dgm:pt>
    <dgm:pt modelId="{632497EB-4ABD-4EF8-B005-F2369A8723CA}" type="pres">
      <dgm:prSet presAssocID="{6AC3AAC3-3063-43EA-9FAE-4E18689EDEF6}" presName="parSpace" presStyleCnt="0"/>
      <dgm:spPr/>
    </dgm:pt>
    <dgm:pt modelId="{94FCBE2F-5570-4225-AB1A-8312E0C4CA44}" type="pres">
      <dgm:prSet presAssocID="{83EEAD3C-9662-4CFF-9F00-7FA09D4F6C57}" presName="parTxOnly" presStyleLbl="node1" presStyleIdx="3" presStyleCnt="8">
        <dgm:presLayoutVars>
          <dgm:bulletEnabled val="1"/>
        </dgm:presLayoutVars>
      </dgm:prSet>
      <dgm:spPr/>
    </dgm:pt>
    <dgm:pt modelId="{B03E3D13-49EB-4ED3-9388-553FF7E3C092}" type="pres">
      <dgm:prSet presAssocID="{419C5A1F-1A89-4CE0-94A4-A6E54B4C3A1D}" presName="parSpace" presStyleCnt="0"/>
      <dgm:spPr/>
    </dgm:pt>
    <dgm:pt modelId="{03AE44FB-07D0-44DC-B857-A8432067426B}" type="pres">
      <dgm:prSet presAssocID="{81E0F706-846B-4A8B-998E-4441D5447D4F}" presName="parTxOnly" presStyleLbl="node1" presStyleIdx="4" presStyleCnt="8">
        <dgm:presLayoutVars>
          <dgm:bulletEnabled val="1"/>
        </dgm:presLayoutVars>
      </dgm:prSet>
      <dgm:spPr/>
    </dgm:pt>
    <dgm:pt modelId="{EB580D16-D35C-4186-8F7F-5339B2503CE1}" type="pres">
      <dgm:prSet presAssocID="{973E3835-D8C9-46A1-9F2B-884C56D555E9}" presName="parSpace" presStyleCnt="0"/>
      <dgm:spPr/>
    </dgm:pt>
    <dgm:pt modelId="{0D129011-640D-4E15-90CC-DA6A58878F32}" type="pres">
      <dgm:prSet presAssocID="{0D182899-7A54-4C72-88CD-397691724E32}" presName="parTxOnly" presStyleLbl="node1" presStyleIdx="5" presStyleCnt="8">
        <dgm:presLayoutVars>
          <dgm:bulletEnabled val="1"/>
        </dgm:presLayoutVars>
      </dgm:prSet>
      <dgm:spPr/>
    </dgm:pt>
    <dgm:pt modelId="{31211449-D68D-48C2-AE18-F276B75BB940}" type="pres">
      <dgm:prSet presAssocID="{44B7E1F0-242E-42AC-9B46-AC15CD0AF49C}" presName="parSpace" presStyleCnt="0"/>
      <dgm:spPr/>
    </dgm:pt>
    <dgm:pt modelId="{762F5FE9-A581-4C8A-9040-6B7A6254A34B}" type="pres">
      <dgm:prSet presAssocID="{293AF2C3-C540-445B-A6FC-65FFA810E379}" presName="parTxOnly" presStyleLbl="node1" presStyleIdx="6" presStyleCnt="8">
        <dgm:presLayoutVars>
          <dgm:bulletEnabled val="1"/>
        </dgm:presLayoutVars>
      </dgm:prSet>
      <dgm:spPr/>
    </dgm:pt>
    <dgm:pt modelId="{BE6CD192-F0C5-4C7B-B7E0-756CEBD6CAD7}" type="pres">
      <dgm:prSet presAssocID="{D1748915-283F-42C2-99E9-BE07EC4E6589}" presName="parSpace" presStyleCnt="0"/>
      <dgm:spPr/>
    </dgm:pt>
    <dgm:pt modelId="{F2ECA542-0823-4D03-B5FE-17FFCC195C51}" type="pres">
      <dgm:prSet presAssocID="{BE9F0B7D-EE19-4089-A1F7-7848C663BCFF}" presName="parTxOnly" presStyleLbl="node1" presStyleIdx="7" presStyleCnt="8">
        <dgm:presLayoutVars>
          <dgm:bulletEnabled val="1"/>
        </dgm:presLayoutVars>
      </dgm:prSet>
      <dgm:spPr/>
    </dgm:pt>
  </dgm:ptLst>
  <dgm:cxnLst>
    <dgm:cxn modelId="{27713301-E016-4F10-8953-96D719D24FD0}" srcId="{08AB7570-3A55-466B-86AE-6F23A13BF310}" destId="{293AF2C3-C540-445B-A6FC-65FFA810E379}" srcOrd="6" destOrd="0" parTransId="{930D6F6F-FA1F-4370-BC35-0F68582AD083}" sibTransId="{D1748915-283F-42C2-99E9-BE07EC4E6589}"/>
    <dgm:cxn modelId="{7A74A10D-FF0C-4678-A7B3-497DAE3D3EFB}" srcId="{08AB7570-3A55-466B-86AE-6F23A13BF310}" destId="{0D182899-7A54-4C72-88CD-397691724E32}" srcOrd="5" destOrd="0" parTransId="{2F419330-73D4-45EA-A0E4-F219B15F8260}" sibTransId="{44B7E1F0-242E-42AC-9B46-AC15CD0AF49C}"/>
    <dgm:cxn modelId="{A26CE914-5EBB-48AB-9EFF-F96F6E79067B}" type="presOf" srcId="{A0985ED1-7643-48C2-BA01-4BBA68E878DC}" destId="{067F1C5C-AA7A-43BE-AAEE-11EFB1519159}" srcOrd="0" destOrd="0" presId="urn:microsoft.com/office/officeart/2005/8/layout/hChevron3"/>
    <dgm:cxn modelId="{C09A7815-B9F1-4720-A507-2EAA2256BE3B}" srcId="{08AB7570-3A55-466B-86AE-6F23A13BF310}" destId="{9B130A71-C69A-4277-8465-DBEBB9140A01}" srcOrd="0" destOrd="0" parTransId="{F143047E-A992-4FAA-B8B7-921EF3513AA5}" sibTransId="{59F44696-E2BC-42EB-B467-E04E2000DE8C}"/>
    <dgm:cxn modelId="{77969A1C-2311-4BA4-830D-9E64E9C0796F}" type="presOf" srcId="{0D182899-7A54-4C72-88CD-397691724E32}" destId="{0D129011-640D-4E15-90CC-DA6A58878F32}" srcOrd="0" destOrd="0" presId="urn:microsoft.com/office/officeart/2005/8/layout/hChevron3"/>
    <dgm:cxn modelId="{3D98402E-9CAB-4B14-95F7-A9DB227CFB5F}" srcId="{08AB7570-3A55-466B-86AE-6F23A13BF310}" destId="{A0985ED1-7643-48C2-BA01-4BBA68E878DC}" srcOrd="1" destOrd="0" parTransId="{9685D01E-5371-47B2-82C4-EE399E49E565}" sibTransId="{63ACA131-4155-4A34-9846-E2AA49EDFAFF}"/>
    <dgm:cxn modelId="{B2629567-B3F1-498A-8BCA-A06C892438B4}" srcId="{08AB7570-3A55-466B-86AE-6F23A13BF310}" destId="{BE9F0B7D-EE19-4089-A1F7-7848C663BCFF}" srcOrd="7" destOrd="0" parTransId="{400A8E56-7347-4CA8-8241-7BA95B630EDD}" sibTransId="{457E1B62-FDDE-4C08-964C-8A55F21D1B28}"/>
    <dgm:cxn modelId="{ED513B4B-C156-4C29-96CD-BD4DDB74DA50}" type="presOf" srcId="{9B130A71-C69A-4277-8465-DBEBB9140A01}" destId="{12B5927F-4EF1-40DB-A8E4-20425F55A274}" srcOrd="0" destOrd="0" presId="urn:microsoft.com/office/officeart/2005/8/layout/hChevron3"/>
    <dgm:cxn modelId="{5DE9AB4D-B1D9-4B73-8988-AA83A0B45FC5}" type="presOf" srcId="{08AB7570-3A55-466B-86AE-6F23A13BF310}" destId="{3A406047-5C33-41AE-90EC-A9EFB6558351}" srcOrd="0" destOrd="0" presId="urn:microsoft.com/office/officeart/2005/8/layout/hChevron3"/>
    <dgm:cxn modelId="{F87C547B-A726-4C49-A988-97297B7E71EE}" type="presOf" srcId="{BE9F0B7D-EE19-4089-A1F7-7848C663BCFF}" destId="{F2ECA542-0823-4D03-B5FE-17FFCC195C51}" srcOrd="0" destOrd="0" presId="urn:microsoft.com/office/officeart/2005/8/layout/hChevron3"/>
    <dgm:cxn modelId="{4502FE83-2C7F-4ED4-A92F-5E08A8DF9329}" type="presOf" srcId="{81E0F706-846B-4A8B-998E-4441D5447D4F}" destId="{03AE44FB-07D0-44DC-B857-A8432067426B}" srcOrd="0" destOrd="0" presId="urn:microsoft.com/office/officeart/2005/8/layout/hChevron3"/>
    <dgm:cxn modelId="{E5E7BA89-0570-488B-B1E1-B7AA918F2355}" type="presOf" srcId="{2B2492AD-AD05-4C39-BBFA-9E00B6C523CD}" destId="{50026CE2-36BB-40DD-958D-F1A0992B7CD7}" srcOrd="0" destOrd="0" presId="urn:microsoft.com/office/officeart/2005/8/layout/hChevron3"/>
    <dgm:cxn modelId="{0AB9199A-DB24-435F-BC24-73423D087750}" type="presOf" srcId="{83EEAD3C-9662-4CFF-9F00-7FA09D4F6C57}" destId="{94FCBE2F-5570-4225-AB1A-8312E0C4CA44}" srcOrd="0" destOrd="0" presId="urn:microsoft.com/office/officeart/2005/8/layout/hChevron3"/>
    <dgm:cxn modelId="{0703C5B8-F548-4578-A913-B1C47790CD90}" srcId="{08AB7570-3A55-466B-86AE-6F23A13BF310}" destId="{83EEAD3C-9662-4CFF-9F00-7FA09D4F6C57}" srcOrd="3" destOrd="0" parTransId="{BC6B2B7D-1BC1-4F2C-BF3A-2B80918747A5}" sibTransId="{419C5A1F-1A89-4CE0-94A4-A6E54B4C3A1D}"/>
    <dgm:cxn modelId="{6F0104B9-F93E-46D2-9964-1F8CF782614E}" srcId="{08AB7570-3A55-466B-86AE-6F23A13BF310}" destId="{2B2492AD-AD05-4C39-BBFA-9E00B6C523CD}" srcOrd="2" destOrd="0" parTransId="{5CD6A91F-65E4-4CFF-A7AE-3A2A858F3DE1}" sibTransId="{6AC3AAC3-3063-43EA-9FAE-4E18689EDEF6}"/>
    <dgm:cxn modelId="{9B8826BD-411C-40F7-A16E-57481E390A6F}" type="presOf" srcId="{293AF2C3-C540-445B-A6FC-65FFA810E379}" destId="{762F5FE9-A581-4C8A-9040-6B7A6254A34B}" srcOrd="0" destOrd="0" presId="urn:microsoft.com/office/officeart/2005/8/layout/hChevron3"/>
    <dgm:cxn modelId="{282EC9F4-915E-4E16-9F7B-FE950F32209B}" srcId="{08AB7570-3A55-466B-86AE-6F23A13BF310}" destId="{81E0F706-846B-4A8B-998E-4441D5447D4F}" srcOrd="4" destOrd="0" parTransId="{25EE5AF6-246E-4FE1-80E4-0C87D479FC4E}" sibTransId="{973E3835-D8C9-46A1-9F2B-884C56D555E9}"/>
    <dgm:cxn modelId="{EA6921E3-3549-4E10-A3F0-B479879A7E4E}" type="presParOf" srcId="{3A406047-5C33-41AE-90EC-A9EFB6558351}" destId="{12B5927F-4EF1-40DB-A8E4-20425F55A274}" srcOrd="0" destOrd="0" presId="urn:microsoft.com/office/officeart/2005/8/layout/hChevron3"/>
    <dgm:cxn modelId="{DCEC1578-3BD8-4B1F-8159-695741BB5849}" type="presParOf" srcId="{3A406047-5C33-41AE-90EC-A9EFB6558351}" destId="{FE1E7AA4-A144-4E4F-BD7D-C775DFC2B9D4}" srcOrd="1" destOrd="0" presId="urn:microsoft.com/office/officeart/2005/8/layout/hChevron3"/>
    <dgm:cxn modelId="{7DCF744E-9952-4F57-B627-5424FFC95AC9}" type="presParOf" srcId="{3A406047-5C33-41AE-90EC-A9EFB6558351}" destId="{067F1C5C-AA7A-43BE-AAEE-11EFB1519159}" srcOrd="2" destOrd="0" presId="urn:microsoft.com/office/officeart/2005/8/layout/hChevron3"/>
    <dgm:cxn modelId="{32704BC0-9400-4079-A3BB-BD2B37B99E2D}" type="presParOf" srcId="{3A406047-5C33-41AE-90EC-A9EFB6558351}" destId="{A81CA201-C9AC-4299-B80C-57C74F1AF1C6}" srcOrd="3" destOrd="0" presId="urn:microsoft.com/office/officeart/2005/8/layout/hChevron3"/>
    <dgm:cxn modelId="{78DE48DF-363A-4B64-84C0-6DE430AA4BF1}" type="presParOf" srcId="{3A406047-5C33-41AE-90EC-A9EFB6558351}" destId="{50026CE2-36BB-40DD-958D-F1A0992B7CD7}" srcOrd="4" destOrd="0" presId="urn:microsoft.com/office/officeart/2005/8/layout/hChevron3"/>
    <dgm:cxn modelId="{34171F32-A694-4035-ABC7-E578CFDF4150}" type="presParOf" srcId="{3A406047-5C33-41AE-90EC-A9EFB6558351}" destId="{632497EB-4ABD-4EF8-B005-F2369A8723CA}" srcOrd="5" destOrd="0" presId="urn:microsoft.com/office/officeart/2005/8/layout/hChevron3"/>
    <dgm:cxn modelId="{D7953B7E-3AE1-495B-B7D4-77595B94BFC1}" type="presParOf" srcId="{3A406047-5C33-41AE-90EC-A9EFB6558351}" destId="{94FCBE2F-5570-4225-AB1A-8312E0C4CA44}" srcOrd="6" destOrd="0" presId="urn:microsoft.com/office/officeart/2005/8/layout/hChevron3"/>
    <dgm:cxn modelId="{9B009BBD-3170-443D-BFF6-060EB2D0D6A5}" type="presParOf" srcId="{3A406047-5C33-41AE-90EC-A9EFB6558351}" destId="{B03E3D13-49EB-4ED3-9388-553FF7E3C092}" srcOrd="7" destOrd="0" presId="urn:microsoft.com/office/officeart/2005/8/layout/hChevron3"/>
    <dgm:cxn modelId="{CEDC8274-BFE5-4C89-AE7C-A4D2F0590B28}" type="presParOf" srcId="{3A406047-5C33-41AE-90EC-A9EFB6558351}" destId="{03AE44FB-07D0-44DC-B857-A8432067426B}" srcOrd="8" destOrd="0" presId="urn:microsoft.com/office/officeart/2005/8/layout/hChevron3"/>
    <dgm:cxn modelId="{28EAE262-C1AC-4F83-81A1-1D861EABD791}" type="presParOf" srcId="{3A406047-5C33-41AE-90EC-A9EFB6558351}" destId="{EB580D16-D35C-4186-8F7F-5339B2503CE1}" srcOrd="9" destOrd="0" presId="urn:microsoft.com/office/officeart/2005/8/layout/hChevron3"/>
    <dgm:cxn modelId="{AD299AE7-B995-408E-9704-8E610B6D2F0D}" type="presParOf" srcId="{3A406047-5C33-41AE-90EC-A9EFB6558351}" destId="{0D129011-640D-4E15-90CC-DA6A58878F32}" srcOrd="10" destOrd="0" presId="urn:microsoft.com/office/officeart/2005/8/layout/hChevron3"/>
    <dgm:cxn modelId="{F6D84BC2-95A1-41AF-B68B-3518354DA21F}" type="presParOf" srcId="{3A406047-5C33-41AE-90EC-A9EFB6558351}" destId="{31211449-D68D-48C2-AE18-F276B75BB940}" srcOrd="11" destOrd="0" presId="urn:microsoft.com/office/officeart/2005/8/layout/hChevron3"/>
    <dgm:cxn modelId="{0AB65A1C-6D9C-41EF-A336-EB8C315ACDC2}" type="presParOf" srcId="{3A406047-5C33-41AE-90EC-A9EFB6558351}" destId="{762F5FE9-A581-4C8A-9040-6B7A6254A34B}" srcOrd="12" destOrd="0" presId="urn:microsoft.com/office/officeart/2005/8/layout/hChevron3"/>
    <dgm:cxn modelId="{C2F03653-44EC-4DB7-BC22-749981FF0449}" type="presParOf" srcId="{3A406047-5C33-41AE-90EC-A9EFB6558351}" destId="{BE6CD192-F0C5-4C7B-B7E0-756CEBD6CAD7}" srcOrd="13" destOrd="0" presId="urn:microsoft.com/office/officeart/2005/8/layout/hChevron3"/>
    <dgm:cxn modelId="{423E05DB-E5AE-4C7E-A9E0-C77A1EDA9767}" type="presParOf" srcId="{3A406047-5C33-41AE-90EC-A9EFB6558351}" destId="{F2ECA542-0823-4D03-B5FE-17FFCC195C51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D862D5-6124-4D93-9C9A-E83DE70E8A15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B2CFFF5-83C6-4467-A639-6CA3EA658B56}">
      <dgm:prSet phldrT="[Text]"/>
      <dgm:spPr/>
      <dgm:t>
        <a:bodyPr/>
        <a:lstStyle/>
        <a:p>
          <a:r>
            <a:rPr lang="en-US" dirty="0"/>
            <a:t>Legal Firm</a:t>
          </a:r>
        </a:p>
      </dgm:t>
    </dgm:pt>
    <dgm:pt modelId="{DC3CFEC4-04B5-43CA-84DA-BC910B423373}" type="parTrans" cxnId="{8E31AB29-6BED-411D-B30F-05E2C0FA4745}">
      <dgm:prSet/>
      <dgm:spPr/>
      <dgm:t>
        <a:bodyPr/>
        <a:lstStyle/>
        <a:p>
          <a:endParaRPr lang="en-US"/>
        </a:p>
      </dgm:t>
    </dgm:pt>
    <dgm:pt modelId="{5FEB8136-4496-48EB-B823-9E00F0E5689C}" type="sibTrans" cxnId="{8E31AB29-6BED-411D-B30F-05E2C0FA4745}">
      <dgm:prSet/>
      <dgm:spPr/>
      <dgm:t>
        <a:bodyPr/>
        <a:lstStyle/>
        <a:p>
          <a:endParaRPr lang="en-US"/>
        </a:p>
      </dgm:t>
    </dgm:pt>
    <dgm:pt modelId="{8A3FACC5-28ED-4A71-94CB-C6E8CE62A6A9}">
      <dgm:prSet phldrT="[Text]"/>
      <dgm:spPr/>
      <dgm:t>
        <a:bodyPr/>
        <a:lstStyle/>
        <a:p>
          <a:r>
            <a:rPr lang="en-US" dirty="0"/>
            <a:t>SaaS Business</a:t>
          </a:r>
        </a:p>
      </dgm:t>
    </dgm:pt>
    <dgm:pt modelId="{8D685945-9AAB-4DCC-8348-3410B23009C6}" type="parTrans" cxnId="{1B4BE328-1D5B-4D4C-AAC6-F1F64A75BDD0}">
      <dgm:prSet/>
      <dgm:spPr/>
      <dgm:t>
        <a:bodyPr/>
        <a:lstStyle/>
        <a:p>
          <a:endParaRPr lang="en-US"/>
        </a:p>
      </dgm:t>
    </dgm:pt>
    <dgm:pt modelId="{54F9001E-99B6-4518-9624-59B2E39A2195}" type="sibTrans" cxnId="{1B4BE328-1D5B-4D4C-AAC6-F1F64A75BDD0}">
      <dgm:prSet/>
      <dgm:spPr/>
      <dgm:t>
        <a:bodyPr/>
        <a:lstStyle/>
        <a:p>
          <a:endParaRPr lang="en-US"/>
        </a:p>
      </dgm:t>
    </dgm:pt>
    <dgm:pt modelId="{C5EBBE0F-4761-4234-8E8D-68105DABD290}" type="pres">
      <dgm:prSet presAssocID="{42D862D5-6124-4D93-9C9A-E83DE70E8A15}" presName="Name0" presStyleCnt="0">
        <dgm:presLayoutVars>
          <dgm:dir/>
          <dgm:resizeHandles val="exact"/>
        </dgm:presLayoutVars>
      </dgm:prSet>
      <dgm:spPr/>
    </dgm:pt>
    <dgm:pt modelId="{4839FAA3-8867-4D26-8D36-763AE75952A6}" type="pres">
      <dgm:prSet presAssocID="{DB2CFFF5-83C6-4467-A639-6CA3EA658B56}" presName="node" presStyleLbl="node1" presStyleIdx="0" presStyleCnt="2" custScaleX="13115" custLinFactNeighborX="-21694" custLinFactNeighborY="0">
        <dgm:presLayoutVars>
          <dgm:bulletEnabled val="1"/>
        </dgm:presLayoutVars>
      </dgm:prSet>
      <dgm:spPr/>
    </dgm:pt>
    <dgm:pt modelId="{699DD587-82E4-4FC6-9FBE-88B99BBE2850}" type="pres">
      <dgm:prSet presAssocID="{5FEB8136-4496-48EB-B823-9E00F0E5689C}" presName="sibTrans" presStyleLbl="sibTrans2D1" presStyleIdx="0" presStyleCnt="1"/>
      <dgm:spPr/>
    </dgm:pt>
    <dgm:pt modelId="{CC9B8D6B-DFDD-4FC1-8CD2-B58A9E22B2E6}" type="pres">
      <dgm:prSet presAssocID="{5FEB8136-4496-48EB-B823-9E00F0E5689C}" presName="connectorText" presStyleLbl="sibTrans2D1" presStyleIdx="0" presStyleCnt="1"/>
      <dgm:spPr/>
    </dgm:pt>
    <dgm:pt modelId="{C2CCCDA5-706B-4382-9ABC-E165FC8A5E89}" type="pres">
      <dgm:prSet presAssocID="{8A3FACC5-28ED-4A71-94CB-C6E8CE62A6A9}" presName="node" presStyleLbl="node1" presStyleIdx="1" presStyleCnt="2" custScaleX="15104">
        <dgm:presLayoutVars>
          <dgm:bulletEnabled val="1"/>
        </dgm:presLayoutVars>
      </dgm:prSet>
      <dgm:spPr/>
    </dgm:pt>
  </dgm:ptLst>
  <dgm:cxnLst>
    <dgm:cxn modelId="{1B4BE328-1D5B-4D4C-AAC6-F1F64A75BDD0}" srcId="{42D862D5-6124-4D93-9C9A-E83DE70E8A15}" destId="{8A3FACC5-28ED-4A71-94CB-C6E8CE62A6A9}" srcOrd="1" destOrd="0" parTransId="{8D685945-9AAB-4DCC-8348-3410B23009C6}" sibTransId="{54F9001E-99B6-4518-9624-59B2E39A2195}"/>
    <dgm:cxn modelId="{8E31AB29-6BED-411D-B30F-05E2C0FA4745}" srcId="{42D862D5-6124-4D93-9C9A-E83DE70E8A15}" destId="{DB2CFFF5-83C6-4467-A639-6CA3EA658B56}" srcOrd="0" destOrd="0" parTransId="{DC3CFEC4-04B5-43CA-84DA-BC910B423373}" sibTransId="{5FEB8136-4496-48EB-B823-9E00F0E5689C}"/>
    <dgm:cxn modelId="{82E2B82A-4559-4200-ABBC-FD1F8ED0D022}" type="presOf" srcId="{5FEB8136-4496-48EB-B823-9E00F0E5689C}" destId="{CC9B8D6B-DFDD-4FC1-8CD2-B58A9E22B2E6}" srcOrd="1" destOrd="0" presId="urn:microsoft.com/office/officeart/2005/8/layout/process1"/>
    <dgm:cxn modelId="{D3EEDC8C-5CCE-49BE-8EA5-51A759BE4F42}" type="presOf" srcId="{42D862D5-6124-4D93-9C9A-E83DE70E8A15}" destId="{C5EBBE0F-4761-4234-8E8D-68105DABD290}" srcOrd="0" destOrd="0" presId="urn:microsoft.com/office/officeart/2005/8/layout/process1"/>
    <dgm:cxn modelId="{95E2E495-C5D4-4729-B642-B82403A7618D}" type="presOf" srcId="{8A3FACC5-28ED-4A71-94CB-C6E8CE62A6A9}" destId="{C2CCCDA5-706B-4382-9ABC-E165FC8A5E89}" srcOrd="0" destOrd="0" presId="urn:microsoft.com/office/officeart/2005/8/layout/process1"/>
    <dgm:cxn modelId="{1FD781E8-6133-4DC4-AF95-2EF6184E7660}" type="presOf" srcId="{DB2CFFF5-83C6-4467-A639-6CA3EA658B56}" destId="{4839FAA3-8867-4D26-8D36-763AE75952A6}" srcOrd="0" destOrd="0" presId="urn:microsoft.com/office/officeart/2005/8/layout/process1"/>
    <dgm:cxn modelId="{7C9EFCEC-C455-4CBF-A029-54A00A050D18}" type="presOf" srcId="{5FEB8136-4496-48EB-B823-9E00F0E5689C}" destId="{699DD587-82E4-4FC6-9FBE-88B99BBE2850}" srcOrd="0" destOrd="0" presId="urn:microsoft.com/office/officeart/2005/8/layout/process1"/>
    <dgm:cxn modelId="{472FBC80-86FC-40EF-BF79-BB4E7E1F37AB}" type="presParOf" srcId="{C5EBBE0F-4761-4234-8E8D-68105DABD290}" destId="{4839FAA3-8867-4D26-8D36-763AE75952A6}" srcOrd="0" destOrd="0" presId="urn:microsoft.com/office/officeart/2005/8/layout/process1"/>
    <dgm:cxn modelId="{1ED307D4-359C-49DD-8127-0A888B3DE075}" type="presParOf" srcId="{C5EBBE0F-4761-4234-8E8D-68105DABD290}" destId="{699DD587-82E4-4FC6-9FBE-88B99BBE2850}" srcOrd="1" destOrd="0" presId="urn:microsoft.com/office/officeart/2005/8/layout/process1"/>
    <dgm:cxn modelId="{D507939A-73DC-4E62-912B-802579C79574}" type="presParOf" srcId="{699DD587-82E4-4FC6-9FBE-88B99BBE2850}" destId="{CC9B8D6B-DFDD-4FC1-8CD2-B58A9E22B2E6}" srcOrd="0" destOrd="0" presId="urn:microsoft.com/office/officeart/2005/8/layout/process1"/>
    <dgm:cxn modelId="{B1F2DA76-FC58-4A45-87A5-DDC58CA96A76}" type="presParOf" srcId="{C5EBBE0F-4761-4234-8E8D-68105DABD290}" destId="{C2CCCDA5-706B-4382-9ABC-E165FC8A5E89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8AB7570-3A55-466B-86AE-6F23A13BF31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9B130A71-C69A-4277-8465-DBEBB9140A01}">
      <dgm:prSet phldrT="[Text]"/>
      <dgm:spPr/>
      <dgm:t>
        <a:bodyPr/>
        <a:lstStyle/>
        <a:p>
          <a:r>
            <a:rPr lang="en-US" dirty="0"/>
            <a:t>Launched MVP with two US clients</a:t>
          </a:r>
        </a:p>
      </dgm:t>
    </dgm:pt>
    <dgm:pt modelId="{F143047E-A992-4FAA-B8B7-921EF3513AA5}" type="parTrans" cxnId="{C09A7815-B9F1-4720-A507-2EAA2256BE3B}">
      <dgm:prSet/>
      <dgm:spPr/>
      <dgm:t>
        <a:bodyPr/>
        <a:lstStyle/>
        <a:p>
          <a:endParaRPr lang="en-US"/>
        </a:p>
      </dgm:t>
    </dgm:pt>
    <dgm:pt modelId="{59F44696-E2BC-42EB-B467-E04E2000DE8C}" type="sibTrans" cxnId="{C09A7815-B9F1-4720-A507-2EAA2256BE3B}">
      <dgm:prSet/>
      <dgm:spPr/>
      <dgm:t>
        <a:bodyPr/>
        <a:lstStyle/>
        <a:p>
          <a:endParaRPr lang="en-US"/>
        </a:p>
      </dgm:t>
    </dgm:pt>
    <dgm:pt modelId="{A0985ED1-7643-48C2-BA01-4BBA68E878DC}">
      <dgm:prSet phldrT="[Text]"/>
      <dgm:spPr/>
      <dgm:t>
        <a:bodyPr/>
        <a:lstStyle/>
        <a:p>
          <a:r>
            <a:rPr lang="en-US" dirty="0"/>
            <a:t>Launching MVP with two UK clients in Dec’22</a:t>
          </a:r>
        </a:p>
      </dgm:t>
    </dgm:pt>
    <dgm:pt modelId="{9685D01E-5371-47B2-82C4-EE399E49E565}" type="parTrans" cxnId="{3D98402E-9CAB-4B14-95F7-A9DB227CFB5F}">
      <dgm:prSet/>
      <dgm:spPr/>
      <dgm:t>
        <a:bodyPr/>
        <a:lstStyle/>
        <a:p>
          <a:endParaRPr lang="en-US"/>
        </a:p>
      </dgm:t>
    </dgm:pt>
    <dgm:pt modelId="{63ACA131-4155-4A34-9846-E2AA49EDFAFF}" type="sibTrans" cxnId="{3D98402E-9CAB-4B14-95F7-A9DB227CFB5F}">
      <dgm:prSet/>
      <dgm:spPr/>
      <dgm:t>
        <a:bodyPr/>
        <a:lstStyle/>
        <a:p>
          <a:endParaRPr lang="en-US"/>
        </a:p>
      </dgm:t>
    </dgm:pt>
    <dgm:pt modelId="{AD9DE68A-B6C0-4C3B-9498-1FC42308C6CA}">
      <dgm:prSet phldrT="[Text]"/>
      <dgm:spPr/>
      <dgm:t>
        <a:bodyPr/>
        <a:lstStyle/>
        <a:p>
          <a:r>
            <a:rPr lang="en-US" dirty="0"/>
            <a:t>Launched a New Website</a:t>
          </a:r>
        </a:p>
      </dgm:t>
    </dgm:pt>
    <dgm:pt modelId="{10D92230-34AE-4195-A625-1CD7958C371E}" type="parTrans" cxnId="{F37DBC33-9272-470C-8551-07575C9D9F76}">
      <dgm:prSet/>
      <dgm:spPr/>
      <dgm:t>
        <a:bodyPr/>
        <a:lstStyle/>
        <a:p>
          <a:endParaRPr lang="en-US"/>
        </a:p>
      </dgm:t>
    </dgm:pt>
    <dgm:pt modelId="{7A8FC8AE-3010-4E23-A7D8-2321826F7467}" type="sibTrans" cxnId="{F37DBC33-9272-470C-8551-07575C9D9F76}">
      <dgm:prSet/>
      <dgm:spPr/>
      <dgm:t>
        <a:bodyPr/>
        <a:lstStyle/>
        <a:p>
          <a:endParaRPr lang="en-US"/>
        </a:p>
      </dgm:t>
    </dgm:pt>
    <dgm:pt modelId="{55989F9D-ABB0-4109-BDB8-2E7236F82040}">
      <dgm:prSet phldrT="[Text]"/>
      <dgm:spPr/>
      <dgm:t>
        <a:bodyPr/>
        <a:lstStyle/>
        <a:p>
          <a:r>
            <a:rPr lang="en-US" dirty="0"/>
            <a:t>Spun off a New Business Precision </a:t>
          </a:r>
          <a:r>
            <a:rPr lang="en-US" dirty="0" err="1"/>
            <a:t>eControl</a:t>
          </a:r>
          <a:endParaRPr lang="en-US" dirty="0"/>
        </a:p>
      </dgm:t>
    </dgm:pt>
    <dgm:pt modelId="{1300EFAE-9A86-43C0-9870-945F6387D00F}" type="parTrans" cxnId="{D8BB640A-0BD9-446B-AC41-19CA0AAA1D82}">
      <dgm:prSet/>
      <dgm:spPr/>
      <dgm:t>
        <a:bodyPr/>
        <a:lstStyle/>
        <a:p>
          <a:endParaRPr lang="en-US"/>
        </a:p>
      </dgm:t>
    </dgm:pt>
    <dgm:pt modelId="{91C2D2E6-7302-42C6-A4DB-0A52D393BF9A}" type="sibTrans" cxnId="{D8BB640A-0BD9-446B-AC41-19CA0AAA1D82}">
      <dgm:prSet/>
      <dgm:spPr/>
      <dgm:t>
        <a:bodyPr/>
        <a:lstStyle/>
        <a:p>
          <a:endParaRPr lang="en-US"/>
        </a:p>
      </dgm:t>
    </dgm:pt>
    <dgm:pt modelId="{E77942E3-4B72-4EB2-AB65-31F888C7AF19}">
      <dgm:prSet phldrT="[Text]"/>
      <dgm:spPr/>
      <dgm:t>
        <a:bodyPr/>
        <a:lstStyle/>
        <a:p>
          <a:r>
            <a:rPr lang="en-US" dirty="0"/>
            <a:t>Refine with products and Full-fledged launch</a:t>
          </a:r>
        </a:p>
      </dgm:t>
    </dgm:pt>
    <dgm:pt modelId="{21CA9E70-00B0-4F60-BDCF-BF5D1FE8A705}" type="parTrans" cxnId="{8929CC4F-7143-43D2-973B-1EF01654517F}">
      <dgm:prSet/>
      <dgm:spPr/>
      <dgm:t>
        <a:bodyPr/>
        <a:lstStyle/>
        <a:p>
          <a:endParaRPr lang="en-US"/>
        </a:p>
      </dgm:t>
    </dgm:pt>
    <dgm:pt modelId="{D083EC32-5C83-4BC7-A8DC-D73A04F71EDE}" type="sibTrans" cxnId="{8929CC4F-7143-43D2-973B-1EF01654517F}">
      <dgm:prSet/>
      <dgm:spPr/>
      <dgm:t>
        <a:bodyPr/>
        <a:lstStyle/>
        <a:p>
          <a:endParaRPr lang="en-US"/>
        </a:p>
      </dgm:t>
    </dgm:pt>
    <dgm:pt modelId="{96FF0FF5-A451-435B-8419-97308B3E0B73}">
      <dgm:prSet phldrT="[Text]"/>
      <dgm:spPr/>
      <dgm:t>
        <a:bodyPr/>
        <a:lstStyle/>
        <a:p>
          <a:r>
            <a:rPr lang="en-US" dirty="0"/>
            <a:t>Expand product portfolio</a:t>
          </a:r>
        </a:p>
      </dgm:t>
    </dgm:pt>
    <dgm:pt modelId="{42FC3D2B-BEAA-40DB-B63A-946CA38A1D13}" type="parTrans" cxnId="{7EC65BA7-E43D-49A4-BF12-C2B031EE54B2}">
      <dgm:prSet/>
      <dgm:spPr/>
      <dgm:t>
        <a:bodyPr/>
        <a:lstStyle/>
        <a:p>
          <a:endParaRPr lang="en-US"/>
        </a:p>
      </dgm:t>
    </dgm:pt>
    <dgm:pt modelId="{6827F97C-B650-4395-AC7C-CFF977C78A2D}" type="sibTrans" cxnId="{7EC65BA7-E43D-49A4-BF12-C2B031EE54B2}">
      <dgm:prSet/>
      <dgm:spPr/>
      <dgm:t>
        <a:bodyPr/>
        <a:lstStyle/>
        <a:p>
          <a:endParaRPr lang="en-US"/>
        </a:p>
      </dgm:t>
    </dgm:pt>
    <dgm:pt modelId="{3A406047-5C33-41AE-90EC-A9EFB6558351}" type="pres">
      <dgm:prSet presAssocID="{08AB7570-3A55-466B-86AE-6F23A13BF310}" presName="Name0" presStyleCnt="0">
        <dgm:presLayoutVars>
          <dgm:dir/>
          <dgm:resizeHandles val="exact"/>
        </dgm:presLayoutVars>
      </dgm:prSet>
      <dgm:spPr/>
    </dgm:pt>
    <dgm:pt modelId="{15A2E070-0589-48AF-86E3-C1A7E4B362FD}" type="pres">
      <dgm:prSet presAssocID="{55989F9D-ABB0-4109-BDB8-2E7236F82040}" presName="parTxOnly" presStyleLbl="node1" presStyleIdx="0" presStyleCnt="6" custLinFactNeighborY="-1362">
        <dgm:presLayoutVars>
          <dgm:bulletEnabled val="1"/>
        </dgm:presLayoutVars>
      </dgm:prSet>
      <dgm:spPr/>
    </dgm:pt>
    <dgm:pt modelId="{6628DF8B-0BE2-4AC2-8D79-D261364C4F46}" type="pres">
      <dgm:prSet presAssocID="{91C2D2E6-7302-42C6-A4DB-0A52D393BF9A}" presName="parSpace" presStyleCnt="0"/>
      <dgm:spPr/>
    </dgm:pt>
    <dgm:pt modelId="{269F417F-51B8-462D-A3E6-FD4FD859F60D}" type="pres">
      <dgm:prSet presAssocID="{AD9DE68A-B6C0-4C3B-9498-1FC42308C6CA}" presName="parTxOnly" presStyleLbl="node1" presStyleIdx="1" presStyleCnt="6">
        <dgm:presLayoutVars>
          <dgm:bulletEnabled val="1"/>
        </dgm:presLayoutVars>
      </dgm:prSet>
      <dgm:spPr/>
    </dgm:pt>
    <dgm:pt modelId="{2F6D8D1B-C99D-4D63-A452-28A9E01D40B8}" type="pres">
      <dgm:prSet presAssocID="{7A8FC8AE-3010-4E23-A7D8-2321826F7467}" presName="parSpace" presStyleCnt="0"/>
      <dgm:spPr/>
    </dgm:pt>
    <dgm:pt modelId="{12B5927F-4EF1-40DB-A8E4-20425F55A274}" type="pres">
      <dgm:prSet presAssocID="{9B130A71-C69A-4277-8465-DBEBB9140A01}" presName="parTxOnly" presStyleLbl="node1" presStyleIdx="2" presStyleCnt="6">
        <dgm:presLayoutVars>
          <dgm:bulletEnabled val="1"/>
        </dgm:presLayoutVars>
      </dgm:prSet>
      <dgm:spPr/>
    </dgm:pt>
    <dgm:pt modelId="{FE1E7AA4-A144-4E4F-BD7D-C775DFC2B9D4}" type="pres">
      <dgm:prSet presAssocID="{59F44696-E2BC-42EB-B467-E04E2000DE8C}" presName="parSpace" presStyleCnt="0"/>
      <dgm:spPr/>
    </dgm:pt>
    <dgm:pt modelId="{067F1C5C-AA7A-43BE-AAEE-11EFB1519159}" type="pres">
      <dgm:prSet presAssocID="{A0985ED1-7643-48C2-BA01-4BBA68E878DC}" presName="parTxOnly" presStyleLbl="node1" presStyleIdx="3" presStyleCnt="6">
        <dgm:presLayoutVars>
          <dgm:bulletEnabled val="1"/>
        </dgm:presLayoutVars>
      </dgm:prSet>
      <dgm:spPr/>
    </dgm:pt>
    <dgm:pt modelId="{C196F575-6718-434A-AF55-FCBA3ACB78A2}" type="pres">
      <dgm:prSet presAssocID="{63ACA131-4155-4A34-9846-E2AA49EDFAFF}" presName="parSpace" presStyleCnt="0"/>
      <dgm:spPr/>
    </dgm:pt>
    <dgm:pt modelId="{12D08069-81B3-40B1-8C6A-A969EABF4B2E}" type="pres">
      <dgm:prSet presAssocID="{E77942E3-4B72-4EB2-AB65-31F888C7AF19}" presName="parTxOnly" presStyleLbl="node1" presStyleIdx="4" presStyleCnt="6">
        <dgm:presLayoutVars>
          <dgm:bulletEnabled val="1"/>
        </dgm:presLayoutVars>
      </dgm:prSet>
      <dgm:spPr/>
    </dgm:pt>
    <dgm:pt modelId="{F3E3B44A-3473-4636-B841-EF761B90A6B6}" type="pres">
      <dgm:prSet presAssocID="{D083EC32-5C83-4BC7-A8DC-D73A04F71EDE}" presName="parSpace" presStyleCnt="0"/>
      <dgm:spPr/>
    </dgm:pt>
    <dgm:pt modelId="{6FBBB93F-9A59-4C18-BA4B-47F21A5FBD0F}" type="pres">
      <dgm:prSet presAssocID="{96FF0FF5-A451-435B-8419-97308B3E0B73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D8BB640A-0BD9-446B-AC41-19CA0AAA1D82}" srcId="{08AB7570-3A55-466B-86AE-6F23A13BF310}" destId="{55989F9D-ABB0-4109-BDB8-2E7236F82040}" srcOrd="0" destOrd="0" parTransId="{1300EFAE-9A86-43C0-9870-945F6387D00F}" sibTransId="{91C2D2E6-7302-42C6-A4DB-0A52D393BF9A}"/>
    <dgm:cxn modelId="{A26CE914-5EBB-48AB-9EFF-F96F6E79067B}" type="presOf" srcId="{A0985ED1-7643-48C2-BA01-4BBA68E878DC}" destId="{067F1C5C-AA7A-43BE-AAEE-11EFB1519159}" srcOrd="0" destOrd="0" presId="urn:microsoft.com/office/officeart/2005/8/layout/hChevron3"/>
    <dgm:cxn modelId="{C09A7815-B9F1-4720-A507-2EAA2256BE3B}" srcId="{08AB7570-3A55-466B-86AE-6F23A13BF310}" destId="{9B130A71-C69A-4277-8465-DBEBB9140A01}" srcOrd="2" destOrd="0" parTransId="{F143047E-A992-4FAA-B8B7-921EF3513AA5}" sibTransId="{59F44696-E2BC-42EB-B467-E04E2000DE8C}"/>
    <dgm:cxn modelId="{3D98402E-9CAB-4B14-95F7-A9DB227CFB5F}" srcId="{08AB7570-3A55-466B-86AE-6F23A13BF310}" destId="{A0985ED1-7643-48C2-BA01-4BBA68E878DC}" srcOrd="3" destOrd="0" parTransId="{9685D01E-5371-47B2-82C4-EE399E49E565}" sibTransId="{63ACA131-4155-4A34-9846-E2AA49EDFAFF}"/>
    <dgm:cxn modelId="{F37DBC33-9272-470C-8551-07575C9D9F76}" srcId="{08AB7570-3A55-466B-86AE-6F23A13BF310}" destId="{AD9DE68A-B6C0-4C3B-9498-1FC42308C6CA}" srcOrd="1" destOrd="0" parTransId="{10D92230-34AE-4195-A625-1CD7958C371E}" sibTransId="{7A8FC8AE-3010-4E23-A7D8-2321826F7467}"/>
    <dgm:cxn modelId="{9EE0745B-66CC-483E-B258-91E6D12AA005}" type="presOf" srcId="{AD9DE68A-B6C0-4C3B-9498-1FC42308C6CA}" destId="{269F417F-51B8-462D-A3E6-FD4FD859F60D}" srcOrd="0" destOrd="0" presId="urn:microsoft.com/office/officeart/2005/8/layout/hChevron3"/>
    <dgm:cxn modelId="{B4E1C861-D352-4401-95C6-5E88281E2D03}" type="presOf" srcId="{55989F9D-ABB0-4109-BDB8-2E7236F82040}" destId="{15A2E070-0589-48AF-86E3-C1A7E4B362FD}" srcOrd="0" destOrd="0" presId="urn:microsoft.com/office/officeart/2005/8/layout/hChevron3"/>
    <dgm:cxn modelId="{ED513B4B-C156-4C29-96CD-BD4DDB74DA50}" type="presOf" srcId="{9B130A71-C69A-4277-8465-DBEBB9140A01}" destId="{12B5927F-4EF1-40DB-A8E4-20425F55A274}" srcOrd="0" destOrd="0" presId="urn:microsoft.com/office/officeart/2005/8/layout/hChevron3"/>
    <dgm:cxn modelId="{5DE9AB4D-B1D9-4B73-8988-AA83A0B45FC5}" type="presOf" srcId="{08AB7570-3A55-466B-86AE-6F23A13BF310}" destId="{3A406047-5C33-41AE-90EC-A9EFB6558351}" srcOrd="0" destOrd="0" presId="urn:microsoft.com/office/officeart/2005/8/layout/hChevron3"/>
    <dgm:cxn modelId="{8929CC4F-7143-43D2-973B-1EF01654517F}" srcId="{08AB7570-3A55-466B-86AE-6F23A13BF310}" destId="{E77942E3-4B72-4EB2-AB65-31F888C7AF19}" srcOrd="4" destOrd="0" parTransId="{21CA9E70-00B0-4F60-BDCF-BF5D1FE8A705}" sibTransId="{D083EC32-5C83-4BC7-A8DC-D73A04F71EDE}"/>
    <dgm:cxn modelId="{7EC65BA7-E43D-49A4-BF12-C2B031EE54B2}" srcId="{08AB7570-3A55-466B-86AE-6F23A13BF310}" destId="{96FF0FF5-A451-435B-8419-97308B3E0B73}" srcOrd="5" destOrd="0" parTransId="{42FC3D2B-BEAA-40DB-B63A-946CA38A1D13}" sibTransId="{6827F97C-B650-4395-AC7C-CFF977C78A2D}"/>
    <dgm:cxn modelId="{4FDCE1B3-E69E-40CC-8D2E-4737335092A2}" type="presOf" srcId="{E77942E3-4B72-4EB2-AB65-31F888C7AF19}" destId="{12D08069-81B3-40B1-8C6A-A969EABF4B2E}" srcOrd="0" destOrd="0" presId="urn:microsoft.com/office/officeart/2005/8/layout/hChevron3"/>
    <dgm:cxn modelId="{B0B71CFB-4EC3-493A-8645-26A45AA96C9C}" type="presOf" srcId="{96FF0FF5-A451-435B-8419-97308B3E0B73}" destId="{6FBBB93F-9A59-4C18-BA4B-47F21A5FBD0F}" srcOrd="0" destOrd="0" presId="urn:microsoft.com/office/officeart/2005/8/layout/hChevron3"/>
    <dgm:cxn modelId="{234E6842-9D9C-40B8-B8A6-75AEA732BEC1}" type="presParOf" srcId="{3A406047-5C33-41AE-90EC-A9EFB6558351}" destId="{15A2E070-0589-48AF-86E3-C1A7E4B362FD}" srcOrd="0" destOrd="0" presId="urn:microsoft.com/office/officeart/2005/8/layout/hChevron3"/>
    <dgm:cxn modelId="{0A1D028C-3302-416D-8FC1-C1C3ADE4730C}" type="presParOf" srcId="{3A406047-5C33-41AE-90EC-A9EFB6558351}" destId="{6628DF8B-0BE2-4AC2-8D79-D261364C4F46}" srcOrd="1" destOrd="0" presId="urn:microsoft.com/office/officeart/2005/8/layout/hChevron3"/>
    <dgm:cxn modelId="{C3819233-FACC-4024-98E8-ABD59EA40963}" type="presParOf" srcId="{3A406047-5C33-41AE-90EC-A9EFB6558351}" destId="{269F417F-51B8-462D-A3E6-FD4FD859F60D}" srcOrd="2" destOrd="0" presId="urn:microsoft.com/office/officeart/2005/8/layout/hChevron3"/>
    <dgm:cxn modelId="{6C8D7BE2-8A73-44CF-B6AC-7406EA0A92D3}" type="presParOf" srcId="{3A406047-5C33-41AE-90EC-A9EFB6558351}" destId="{2F6D8D1B-C99D-4D63-A452-28A9E01D40B8}" srcOrd="3" destOrd="0" presId="urn:microsoft.com/office/officeart/2005/8/layout/hChevron3"/>
    <dgm:cxn modelId="{EA6921E3-3549-4E10-A3F0-B479879A7E4E}" type="presParOf" srcId="{3A406047-5C33-41AE-90EC-A9EFB6558351}" destId="{12B5927F-4EF1-40DB-A8E4-20425F55A274}" srcOrd="4" destOrd="0" presId="urn:microsoft.com/office/officeart/2005/8/layout/hChevron3"/>
    <dgm:cxn modelId="{DCEC1578-3BD8-4B1F-8159-695741BB5849}" type="presParOf" srcId="{3A406047-5C33-41AE-90EC-A9EFB6558351}" destId="{FE1E7AA4-A144-4E4F-BD7D-C775DFC2B9D4}" srcOrd="5" destOrd="0" presId="urn:microsoft.com/office/officeart/2005/8/layout/hChevron3"/>
    <dgm:cxn modelId="{7DCF744E-9952-4F57-B627-5424FFC95AC9}" type="presParOf" srcId="{3A406047-5C33-41AE-90EC-A9EFB6558351}" destId="{067F1C5C-AA7A-43BE-AAEE-11EFB1519159}" srcOrd="6" destOrd="0" presId="urn:microsoft.com/office/officeart/2005/8/layout/hChevron3"/>
    <dgm:cxn modelId="{7719A6A7-1CBD-434C-9438-4499689AB149}" type="presParOf" srcId="{3A406047-5C33-41AE-90EC-A9EFB6558351}" destId="{C196F575-6718-434A-AF55-FCBA3ACB78A2}" srcOrd="7" destOrd="0" presId="urn:microsoft.com/office/officeart/2005/8/layout/hChevron3"/>
    <dgm:cxn modelId="{CEECE89F-59DA-4E07-A440-FB52255BFDDB}" type="presParOf" srcId="{3A406047-5C33-41AE-90EC-A9EFB6558351}" destId="{12D08069-81B3-40B1-8C6A-A969EABF4B2E}" srcOrd="8" destOrd="0" presId="urn:microsoft.com/office/officeart/2005/8/layout/hChevron3"/>
    <dgm:cxn modelId="{4CECF0CD-8CD4-43B5-A13C-413BD22B4857}" type="presParOf" srcId="{3A406047-5C33-41AE-90EC-A9EFB6558351}" destId="{F3E3B44A-3473-4636-B841-EF761B90A6B6}" srcOrd="9" destOrd="0" presId="urn:microsoft.com/office/officeart/2005/8/layout/hChevron3"/>
    <dgm:cxn modelId="{B43F601E-670B-4525-A89C-BCBDC4CAE96D}" type="presParOf" srcId="{3A406047-5C33-41AE-90EC-A9EFB6558351}" destId="{6FBBB93F-9A59-4C18-BA4B-47F21A5FBD0F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B5927F-4EF1-40DB-A8E4-20425F55A274}">
      <dsp:nvSpPr>
        <dsp:cNvPr id="0" name=""/>
        <dsp:cNvSpPr/>
      </dsp:nvSpPr>
      <dsp:spPr>
        <a:xfrm>
          <a:off x="5692" y="346940"/>
          <a:ext cx="1764603" cy="7058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eCommerce Booms</a:t>
          </a:r>
        </a:p>
      </dsp:txBody>
      <dsp:txXfrm>
        <a:off x="5692" y="346940"/>
        <a:ext cx="1588143" cy="705841"/>
      </dsp:txXfrm>
    </dsp:sp>
    <dsp:sp modelId="{067F1C5C-AA7A-43BE-AAEE-11EFB1519159}">
      <dsp:nvSpPr>
        <dsp:cNvPr id="0" name=""/>
        <dsp:cNvSpPr/>
      </dsp:nvSpPr>
      <dsp:spPr>
        <a:xfrm>
          <a:off x="1417375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3P sellers flock to marketplaces</a:t>
          </a:r>
        </a:p>
      </dsp:txBody>
      <dsp:txXfrm>
        <a:off x="1770296" y="346940"/>
        <a:ext cx="1058762" cy="705841"/>
      </dsp:txXfrm>
    </dsp:sp>
    <dsp:sp modelId="{50026CE2-36BB-40DD-958D-F1A0992B7CD7}">
      <dsp:nvSpPr>
        <dsp:cNvPr id="0" name=""/>
        <dsp:cNvSpPr/>
      </dsp:nvSpPr>
      <dsp:spPr>
        <a:xfrm>
          <a:off x="2829058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Intra-brand competition</a:t>
          </a:r>
        </a:p>
      </dsp:txBody>
      <dsp:txXfrm>
        <a:off x="3181979" y="346940"/>
        <a:ext cx="1058762" cy="705841"/>
      </dsp:txXfrm>
    </dsp:sp>
    <dsp:sp modelId="{94FCBE2F-5570-4225-AB1A-8312E0C4CA44}">
      <dsp:nvSpPr>
        <dsp:cNvPr id="0" name=""/>
        <dsp:cNvSpPr/>
      </dsp:nvSpPr>
      <dsp:spPr>
        <a:xfrm>
          <a:off x="4240741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Lost Buy Box</a:t>
          </a:r>
        </a:p>
      </dsp:txBody>
      <dsp:txXfrm>
        <a:off x="4593662" y="346940"/>
        <a:ext cx="1058762" cy="705841"/>
      </dsp:txXfrm>
    </dsp:sp>
    <dsp:sp modelId="{03AE44FB-07D0-44DC-B857-A8432067426B}">
      <dsp:nvSpPr>
        <dsp:cNvPr id="0" name=""/>
        <dsp:cNvSpPr/>
      </dsp:nvSpPr>
      <dsp:spPr>
        <a:xfrm>
          <a:off x="5652424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Brick &amp; mortar match online prices</a:t>
          </a:r>
        </a:p>
      </dsp:txBody>
      <dsp:txXfrm>
        <a:off x="6005345" y="346940"/>
        <a:ext cx="1058762" cy="705841"/>
      </dsp:txXfrm>
    </dsp:sp>
    <dsp:sp modelId="{0D129011-640D-4E15-90CC-DA6A58878F32}">
      <dsp:nvSpPr>
        <dsp:cNvPr id="0" name=""/>
        <dsp:cNvSpPr/>
      </dsp:nvSpPr>
      <dsp:spPr>
        <a:xfrm>
          <a:off x="7064107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Retail profits decline</a:t>
          </a:r>
        </a:p>
      </dsp:txBody>
      <dsp:txXfrm>
        <a:off x="7417028" y="346940"/>
        <a:ext cx="1058762" cy="705841"/>
      </dsp:txXfrm>
    </dsp:sp>
    <dsp:sp modelId="{762F5FE9-A581-4C8A-9040-6B7A6254A34B}">
      <dsp:nvSpPr>
        <dsp:cNvPr id="0" name=""/>
        <dsp:cNvSpPr/>
      </dsp:nvSpPr>
      <dsp:spPr>
        <a:xfrm>
          <a:off x="8475790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eCommerce profits decline</a:t>
          </a:r>
        </a:p>
      </dsp:txBody>
      <dsp:txXfrm>
        <a:off x="8828711" y="346940"/>
        <a:ext cx="1058762" cy="705841"/>
      </dsp:txXfrm>
    </dsp:sp>
    <dsp:sp modelId="{F2ECA542-0823-4D03-B5FE-17FFCC195C51}">
      <dsp:nvSpPr>
        <dsp:cNvPr id="0" name=""/>
        <dsp:cNvSpPr/>
      </dsp:nvSpPr>
      <dsp:spPr>
        <a:xfrm>
          <a:off x="9887473" y="346940"/>
          <a:ext cx="1764603" cy="7058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All channels less profitable</a:t>
          </a:r>
        </a:p>
      </dsp:txBody>
      <dsp:txXfrm>
        <a:off x="10240394" y="346940"/>
        <a:ext cx="1058762" cy="7058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39FAA3-8867-4D26-8D36-763AE75952A6}">
      <dsp:nvSpPr>
        <dsp:cNvPr id="0" name=""/>
        <dsp:cNvSpPr/>
      </dsp:nvSpPr>
      <dsp:spPr>
        <a:xfrm>
          <a:off x="781300" y="0"/>
          <a:ext cx="1411053" cy="7676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egal Firm</a:t>
          </a:r>
        </a:p>
      </dsp:txBody>
      <dsp:txXfrm>
        <a:off x="803784" y="22484"/>
        <a:ext cx="1366085" cy="722680"/>
      </dsp:txXfrm>
    </dsp:sp>
    <dsp:sp modelId="{699DD587-82E4-4FC6-9FBE-88B99BBE2850}">
      <dsp:nvSpPr>
        <dsp:cNvPr id="0" name=""/>
        <dsp:cNvSpPr/>
      </dsp:nvSpPr>
      <dsp:spPr>
        <a:xfrm>
          <a:off x="3501670" y="0"/>
          <a:ext cx="2775749" cy="7676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3501670" y="153530"/>
        <a:ext cx="2545455" cy="460588"/>
      </dsp:txXfrm>
    </dsp:sp>
    <dsp:sp modelId="{C2CCCDA5-706B-4382-9ABC-E165FC8A5E89}">
      <dsp:nvSpPr>
        <dsp:cNvPr id="0" name=""/>
        <dsp:cNvSpPr/>
      </dsp:nvSpPr>
      <dsp:spPr>
        <a:xfrm>
          <a:off x="7429617" y="0"/>
          <a:ext cx="1625051" cy="7676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aaS Business</a:t>
          </a:r>
        </a:p>
      </dsp:txBody>
      <dsp:txXfrm>
        <a:off x="7452101" y="22484"/>
        <a:ext cx="1580083" cy="722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A2E070-0589-48AF-86E3-C1A7E4B362FD}">
      <dsp:nvSpPr>
        <dsp:cNvPr id="0" name=""/>
        <dsp:cNvSpPr/>
      </dsp:nvSpPr>
      <dsp:spPr>
        <a:xfrm>
          <a:off x="1423" y="220965"/>
          <a:ext cx="2330984" cy="93239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pun off a New Business Precision </a:t>
          </a:r>
          <a:r>
            <a:rPr lang="en-US" sz="1500" kern="1200" dirty="0" err="1"/>
            <a:t>eControl</a:t>
          </a:r>
          <a:endParaRPr lang="en-US" sz="1500" kern="1200" dirty="0"/>
        </a:p>
      </dsp:txBody>
      <dsp:txXfrm>
        <a:off x="1423" y="220965"/>
        <a:ext cx="2097886" cy="932393"/>
      </dsp:txXfrm>
    </dsp:sp>
    <dsp:sp modelId="{269F417F-51B8-462D-A3E6-FD4FD859F60D}">
      <dsp:nvSpPr>
        <dsp:cNvPr id="0" name=""/>
        <dsp:cNvSpPr/>
      </dsp:nvSpPr>
      <dsp:spPr>
        <a:xfrm>
          <a:off x="1866210" y="233664"/>
          <a:ext cx="2330984" cy="9323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Launched a New Website</a:t>
          </a:r>
        </a:p>
      </dsp:txBody>
      <dsp:txXfrm>
        <a:off x="2332407" y="233664"/>
        <a:ext cx="1398591" cy="932393"/>
      </dsp:txXfrm>
    </dsp:sp>
    <dsp:sp modelId="{12B5927F-4EF1-40DB-A8E4-20425F55A274}">
      <dsp:nvSpPr>
        <dsp:cNvPr id="0" name=""/>
        <dsp:cNvSpPr/>
      </dsp:nvSpPr>
      <dsp:spPr>
        <a:xfrm>
          <a:off x="3730998" y="233664"/>
          <a:ext cx="2330984" cy="9323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Launched MVP with two US clients</a:t>
          </a:r>
        </a:p>
      </dsp:txBody>
      <dsp:txXfrm>
        <a:off x="4197195" y="233664"/>
        <a:ext cx="1398591" cy="932393"/>
      </dsp:txXfrm>
    </dsp:sp>
    <dsp:sp modelId="{067F1C5C-AA7A-43BE-AAEE-11EFB1519159}">
      <dsp:nvSpPr>
        <dsp:cNvPr id="0" name=""/>
        <dsp:cNvSpPr/>
      </dsp:nvSpPr>
      <dsp:spPr>
        <a:xfrm>
          <a:off x="5595786" y="233664"/>
          <a:ext cx="2330984" cy="9323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Launching MVP with two UK clients in Dec’22</a:t>
          </a:r>
        </a:p>
      </dsp:txBody>
      <dsp:txXfrm>
        <a:off x="6061983" y="233664"/>
        <a:ext cx="1398591" cy="932393"/>
      </dsp:txXfrm>
    </dsp:sp>
    <dsp:sp modelId="{12D08069-81B3-40B1-8C6A-A969EABF4B2E}">
      <dsp:nvSpPr>
        <dsp:cNvPr id="0" name=""/>
        <dsp:cNvSpPr/>
      </dsp:nvSpPr>
      <dsp:spPr>
        <a:xfrm>
          <a:off x="7460574" y="233664"/>
          <a:ext cx="2330984" cy="9323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Refine with products and Full-fledged launch</a:t>
          </a:r>
        </a:p>
      </dsp:txBody>
      <dsp:txXfrm>
        <a:off x="7926771" y="233664"/>
        <a:ext cx="1398591" cy="932393"/>
      </dsp:txXfrm>
    </dsp:sp>
    <dsp:sp modelId="{6FBBB93F-9A59-4C18-BA4B-47F21A5FBD0F}">
      <dsp:nvSpPr>
        <dsp:cNvPr id="0" name=""/>
        <dsp:cNvSpPr/>
      </dsp:nvSpPr>
      <dsp:spPr>
        <a:xfrm>
          <a:off x="9325362" y="233664"/>
          <a:ext cx="2330984" cy="9323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Expand product portfolio</a:t>
          </a:r>
        </a:p>
      </dsp:txBody>
      <dsp:txXfrm>
        <a:off x="9791559" y="233664"/>
        <a:ext cx="1398591" cy="9323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1D480E-9BE3-40CF-A9B9-59B235DA1AFF}" type="datetimeFigureOut">
              <a:rPr lang="en-US" smtClean="0"/>
              <a:t>12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574B6B-4272-4759-9D8F-6F28B61D69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916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A3E0E-CD7E-4F4B-9696-041932BCC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D30911-771B-45D2-8236-3199EC5554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3851B9-CBF7-4C5A-A8C2-8562CEC0A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DE1DA-B3D4-49D6-8410-072A752CFFD2}" type="datetime1">
              <a:rPr lang="en-US" smtClean="0"/>
              <a:t>12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86265E-AC2C-4409-98CF-B6C79AC11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8895BA-4CC7-4BF9-A1F7-624046902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49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BA165-0E8C-4AC8-BF81-01378F966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84D079-A2D9-4854-8544-C2288A9536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DDBC3E-E6D6-4812-AB57-BC0602B8B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7D708-DECB-4500-8373-07FA30D87537}" type="datetime1">
              <a:rPr lang="en-US" smtClean="0"/>
              <a:t>12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C0B367-3C19-4DF5-95E6-CE547A132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BD1419-1090-480D-9918-E48014E92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241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8FC5474-0C4C-4ACB-9B48-4FC044DC3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02D01F-CCF6-4316-B06A-15DD4A9D97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D3143-6B71-4AD9-A288-EA2770810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36495-A1CE-40F2-A0CC-CD422D34F5AB}" type="datetime1">
              <a:rPr lang="en-US" smtClean="0"/>
              <a:t>12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A8A82E-1BBC-4B8E-8E2F-D8A762F1D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BE4BF2-00E1-4C50-8A23-EDAA264A1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127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96C7A-C0F1-46B2-87F5-5A079FFFBD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077BEA-E854-48D0-97B2-555D19A73F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37A80E-2E62-430E-A042-85C768E50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38316-939F-4AB7-8FC0-C71318F35E4D}" type="datetime1">
              <a:rPr lang="en-US" smtClean="0"/>
              <a:t>12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1AEC28-3E71-4F15-8968-CD3C19FD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E3E3FF-0233-4A7C-A61F-3C8F600AE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277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17995-A571-4A96-BFDF-003975F16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26EEE0-5837-40CD-B377-081EDF2010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59BD95-4324-4F5C-8D62-66DB11480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03629-7625-4D0C-B135-1AD5DF81827B}" type="datetime1">
              <a:rPr lang="en-US" smtClean="0"/>
              <a:t>12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04C482-ED08-4CCF-B337-33ACA6EBB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36CDBE-FE07-4EEF-88D8-02B4CCD88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911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F2049-FAEC-4795-A005-111504C5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B17824-54C1-4221-8329-99F49796F6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8BA4F9-C8BE-4525-A8F2-FE6360939D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C293F6-CFBB-49B8-9FF0-B81438AC7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0B89-7B38-4D61-9AB2-CC258EC4BAA2}" type="datetime1">
              <a:rPr lang="en-US" smtClean="0"/>
              <a:t>12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413B2-99CC-4743-B7CD-27E4C837D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11956D-9F9E-4E1E-AC82-4E1BABD41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89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AF8A2-0E17-4F92-B3E3-2A201CACC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D74174-72F7-4EAB-AFE0-4CBC8BCCD3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C62FFF-B635-4EED-8C8F-349056BC9A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B3ACFB-D543-4385-9E1B-75FD7F5290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639D2-EA55-4942-96F1-BE1E79F44B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6B75CD-7D99-48E6-BB43-0C22AFFB52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FA150-592A-46C9-909B-7541BA3E0857}" type="datetime1">
              <a:rPr lang="en-US" smtClean="0"/>
              <a:t>12/1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B63A49-7EAD-4EF5-8AC8-B3038065F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2B2251-DA5D-4689-86F1-0DC3B2881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353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D72DFA-EE59-47F2-BB0B-755B86851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25EBF9-52F3-42BA-BE4E-0D341211D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50886-2613-4942-9FE1-BB1A1D82AF77}" type="datetime1">
              <a:rPr lang="en-US" smtClean="0"/>
              <a:t>12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CBA107-512B-4F1A-B9D0-95E5CA6FD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330B4B-7381-4882-8D64-8BCC72F12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095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10B37F-0D57-4126-9C8C-6F1A55811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E23D7-32F6-4D0B-908F-9FEE1D39901B}" type="datetime1">
              <a:rPr lang="en-US" smtClean="0"/>
              <a:t>12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5414F4-4386-4D7D-8F2D-4967CA60A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581E93-B289-4B5F-9237-AB7418CC6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088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C1369-559C-4E4F-81AB-B36E05544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6BD9BF-BDA4-4051-8FDF-A1B8E8B90F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5D15BA-6CC4-426F-9B54-BE46B65EE9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3A4008-56FA-4229-8453-ACDCDC590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A80869-B375-4017-996E-E6B81F6B94B4}" type="datetime1">
              <a:rPr lang="en-US" smtClean="0"/>
              <a:t>12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4F7611-7203-4457-886F-4621FDA4C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4403AF-B850-460D-8AEB-4A215FFAC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0831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9B897-C0DE-4B9C-832F-20AE64EB2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391AF7-30F6-4A98-A965-32218B3751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2D9571-5A3D-40E8-858D-EF6D643530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DB6A6E-1BCB-43AB-A1E3-49DF0E6D2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6343C-46A6-414E-B0D8-7520C4995DAA}" type="datetime1">
              <a:rPr lang="en-US" smtClean="0"/>
              <a:t>12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651CA6-E901-427D-AB89-5720A5F67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EE3D0E-E7AD-44D8-AC85-ED0B27716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179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1000">
              <a:schemeClr val="accent1">
                <a:lumMod val="5000"/>
                <a:lumOff val="95000"/>
                <a:alpha val="21000"/>
              </a:schemeClr>
            </a:gs>
            <a:gs pos="100000">
              <a:schemeClr val="bg1">
                <a:lumMod val="9500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E3FB9B-373D-87BD-505E-6B4E8AB3A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6978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3" progId="TCLayout.ActiveDocument.1">
                  <p:embed/>
                </p:oleObj>
              </mc:Choice>
              <mc:Fallback>
                <p:oleObj name="think-cell Slide" r:id="rId14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E3FB9B-373D-87BD-505E-6B4E8AB3A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71F1F5-9413-447C-8307-2D370901B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EDE7E-5A0D-49AD-863D-4CEE72305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10067-E69B-4A4D-B3C7-DEECCC2989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BE0A89-23A8-46B0-96CF-1C82B2E9C134}" type="datetime1">
              <a:rPr lang="en-US" smtClean="0"/>
              <a:t>12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B8A6C-A221-4EA6-BE30-A657BFD984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D553B-7B26-4E58-97F4-1153BE0C3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49C6B2-5B87-4C80-B06E-399EEAAFADA2}" type="slidenum">
              <a:rPr lang="en-US" smtClean="0"/>
              <a:t>‹#›</a:t>
            </a:fld>
            <a:endParaRPr lang="en-US"/>
          </a:p>
        </p:txBody>
      </p:sp>
      <p:pic>
        <p:nvPicPr>
          <p:cNvPr id="60" name="Picture 59" descr="Background pattern&#10;&#10;Description automatically generated">
            <a:extLst>
              <a:ext uri="{FF2B5EF4-FFF2-40B4-BE49-F238E27FC236}">
                <a16:creationId xmlns:a16="http://schemas.microsoft.com/office/drawing/2014/main" id="{49CA4C36-4E09-4A34-B67B-588F5E4481FA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63" cy="708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86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" Type="http://schemas.openxmlformats.org/officeDocument/2006/relationships/slideLayout" Target="../slideLayouts/slideLayout2.xml"/><Relationship Id="rId16" Type="http://schemas.openxmlformats.org/officeDocument/2006/relationships/diagramColors" Target="../diagrams/colors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3.png"/><Relationship Id="rId1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1.emf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3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04E9173D-788D-B53F-DE8C-3A9E899DA1D4}"/>
              </a:ext>
            </a:extLst>
          </p:cNvPr>
          <p:cNvSpPr txBox="1"/>
          <p:nvPr/>
        </p:nvSpPr>
        <p:spPr>
          <a:xfrm>
            <a:off x="2384425" y="963901"/>
            <a:ext cx="6922339" cy="1287755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pPr lvl="0">
              <a:spcBef>
                <a:spcPts val="300"/>
              </a:spcBef>
              <a:spcAft>
                <a:spcPts val="300"/>
              </a:spcAft>
              <a:defRPr/>
            </a:pPr>
            <a:endParaRPr lang="en-US" sz="1200" dirty="0">
              <a:effectLst/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5A5E9B4-ADA4-DEDD-045F-A8071FEC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5A5E9B4-ADA4-DEDD-045F-A8071FEC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Slide Number Placeholder 11">
            <a:extLst>
              <a:ext uri="{FF2B5EF4-FFF2-40B4-BE49-F238E27FC236}">
                <a16:creationId xmlns:a16="http://schemas.microsoft.com/office/drawing/2014/main" id="{F0D27402-453C-4F1F-B069-402FFC3A3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6464" y="6529778"/>
            <a:ext cx="2743200" cy="365125"/>
          </a:xfrm>
        </p:spPr>
        <p:txBody>
          <a:bodyPr/>
          <a:lstStyle/>
          <a:p>
            <a:fld id="{282DF744-59D3-42BE-8429-0F20BCAA3E4D}" type="slidenum">
              <a:rPr lang="en-US" smtClean="0"/>
              <a:t>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A5B7B4-FD0B-4971-80C9-A133AF104285}"/>
              </a:ext>
            </a:extLst>
          </p:cNvPr>
          <p:cNvSpPr txBox="1"/>
          <p:nvPr/>
        </p:nvSpPr>
        <p:spPr>
          <a:xfrm>
            <a:off x="172978" y="292997"/>
            <a:ext cx="112230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24216D"/>
                </a:solidFill>
              </a:rPr>
              <a:t>Vory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77780D-E68F-412E-913D-92FF6AD3A913}"/>
              </a:ext>
            </a:extLst>
          </p:cNvPr>
          <p:cNvCxnSpPr/>
          <p:nvPr/>
        </p:nvCxnSpPr>
        <p:spPr>
          <a:xfrm>
            <a:off x="267115" y="744447"/>
            <a:ext cx="1293541" cy="0"/>
          </a:xfrm>
          <a:prstGeom prst="line">
            <a:avLst/>
          </a:prstGeom>
          <a:ln w="57150">
            <a:solidFill>
              <a:srgbClr val="A1C1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FEDBFBA7-D108-4182-89D9-D026CE3AC9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270" y="57528"/>
            <a:ext cx="1219730" cy="36049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40DA842E-AEE0-6CE3-F932-FAAE2B0507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54038" y="4619444"/>
            <a:ext cx="1341979" cy="307793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6D50EC7-916B-EA0F-1C52-F31012CF2E67}"/>
              </a:ext>
            </a:extLst>
          </p:cNvPr>
          <p:cNvSpPr/>
          <p:nvPr/>
        </p:nvSpPr>
        <p:spPr>
          <a:xfrm>
            <a:off x="267115" y="3852787"/>
            <a:ext cx="1726372" cy="40509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bg1"/>
                </a:solidFill>
              </a:rPr>
              <a:t>Client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F6167D-453B-F640-E208-057005B834EA}"/>
              </a:ext>
            </a:extLst>
          </p:cNvPr>
          <p:cNvSpPr/>
          <p:nvPr/>
        </p:nvSpPr>
        <p:spPr>
          <a:xfrm>
            <a:off x="267115" y="1073292"/>
            <a:ext cx="1726372" cy="40509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bg1"/>
                </a:solidFill>
              </a:rPr>
              <a:t>Problem Stat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DACCE4-DD64-057D-D500-4DD68375BBA8}"/>
              </a:ext>
            </a:extLst>
          </p:cNvPr>
          <p:cNvSpPr txBox="1"/>
          <p:nvPr/>
        </p:nvSpPr>
        <p:spPr>
          <a:xfrm>
            <a:off x="2524125" y="1000125"/>
            <a:ext cx="6650539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authorized sellers on online marketplaces,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Brand value erodes as sellers compete for buy box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Inconsistent and inefficient AD strategy – as sellers capturing buy box can place ad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Stock outs – impacts sales as search results favor products that are reliably in sto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Lack of brand control – Inconsistent images, language/ descrip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AE31AF5-1825-D495-C3C2-2475E520BED7}"/>
              </a:ext>
            </a:extLst>
          </p:cNvPr>
          <p:cNvSpPr/>
          <p:nvPr/>
        </p:nvSpPr>
        <p:spPr>
          <a:xfrm>
            <a:off x="267115" y="2330217"/>
            <a:ext cx="1726372" cy="40509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bg1"/>
                </a:solidFill>
              </a:rPr>
              <a:t>Profitability Decline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2F0B7594-CE94-822E-D979-92D4E28282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8896958"/>
              </p:ext>
            </p:extLst>
          </p:nvPr>
        </p:nvGraphicFramePr>
        <p:xfrm>
          <a:off x="267115" y="2444666"/>
          <a:ext cx="11657770" cy="1399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869E004-5CA0-1744-4327-5884EF49E6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1032146"/>
              </p:ext>
            </p:extLst>
          </p:nvPr>
        </p:nvGraphicFramePr>
        <p:xfrm>
          <a:off x="761465" y="4389517"/>
          <a:ext cx="10769600" cy="7676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4F93F08C-F84E-57A2-3557-E93C2D8ED914}"/>
              </a:ext>
            </a:extLst>
          </p:cNvPr>
          <p:cNvSpPr/>
          <p:nvPr/>
        </p:nvSpPr>
        <p:spPr>
          <a:xfrm>
            <a:off x="951456" y="5157166"/>
            <a:ext cx="2262814" cy="1407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1">
              <a:spcBef>
                <a:spcPts val="600"/>
              </a:spcBef>
              <a:buClr>
                <a:srgbClr val="95AF28"/>
              </a:buClr>
              <a:buSzPct val="125000"/>
            </a:pPr>
            <a:r>
              <a:rPr lang="en-US" sz="1300" dirty="0">
                <a:solidFill>
                  <a:schemeClr val="accent6">
                    <a:lumMod val="50000"/>
                  </a:schemeClr>
                </a:solidFill>
              </a:rPr>
              <a:t>Setup legal framework for brands and 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litigate fraudulent product sales</a:t>
            </a:r>
          </a:p>
          <a:p>
            <a:pPr marL="0" lvl="1">
              <a:spcBef>
                <a:spcPts val="600"/>
              </a:spcBef>
              <a:buClr>
                <a:srgbClr val="95AF28"/>
              </a:buClr>
              <a:buSzPct val="125000"/>
            </a:pPr>
            <a:r>
              <a:rPr lang="en-US" sz="1300" dirty="0">
                <a:solidFill>
                  <a:schemeClr val="accent6">
                    <a:lumMod val="50000"/>
                  </a:schemeClr>
                </a:solidFill>
              </a:rPr>
              <a:t>Has an internal Data Analytics team to support with data-based insight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EA94DA-157B-6541-D886-AB582E12F84D}"/>
              </a:ext>
            </a:extLst>
          </p:cNvPr>
          <p:cNvCxnSpPr>
            <a:cxnSpLocks/>
          </p:cNvCxnSpPr>
          <p:nvPr/>
        </p:nvCxnSpPr>
        <p:spPr>
          <a:xfrm flipV="1">
            <a:off x="856220" y="5157166"/>
            <a:ext cx="0" cy="137261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40CE83CF-ECDB-35ED-0B0E-92FA6FEFDAAB}"/>
              </a:ext>
            </a:extLst>
          </p:cNvPr>
          <p:cNvSpPr/>
          <p:nvPr/>
        </p:nvSpPr>
        <p:spPr>
          <a:xfrm>
            <a:off x="761465" y="5231522"/>
            <a:ext cx="189991" cy="245929"/>
          </a:xfrm>
          <a:prstGeom prst="star5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1A7237-8BD4-778D-1FB5-C166EB06875C}"/>
              </a:ext>
            </a:extLst>
          </p:cNvPr>
          <p:cNvSpPr/>
          <p:nvPr/>
        </p:nvSpPr>
        <p:spPr>
          <a:xfrm>
            <a:off x="8062942" y="5261441"/>
            <a:ext cx="2262814" cy="1407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lvl="1">
              <a:spcBef>
                <a:spcPts val="600"/>
              </a:spcBef>
              <a:buClr>
                <a:srgbClr val="95AF28"/>
              </a:buClr>
              <a:buSzPct val="125000"/>
            </a:pP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Self-serve software products </a:t>
            </a:r>
            <a:r>
              <a:rPr lang="en-US" sz="1300" dirty="0">
                <a:solidFill>
                  <a:schemeClr val="accent6">
                    <a:lumMod val="50000"/>
                  </a:schemeClr>
                </a:solidFill>
              </a:rPr>
              <a:t>for both the brands and the internal legal team to 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monitor the eCommerce channels and initiate corrective action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D8BE216-B9DF-F481-5ECB-EBB8D43F259F}"/>
              </a:ext>
            </a:extLst>
          </p:cNvPr>
          <p:cNvCxnSpPr>
            <a:cxnSpLocks/>
          </p:cNvCxnSpPr>
          <p:nvPr/>
        </p:nvCxnSpPr>
        <p:spPr>
          <a:xfrm flipV="1">
            <a:off x="7967706" y="5261441"/>
            <a:ext cx="0" cy="137261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318E4A02-30B2-152F-8E31-4343B84FCCCE}"/>
              </a:ext>
            </a:extLst>
          </p:cNvPr>
          <p:cNvSpPr/>
          <p:nvPr/>
        </p:nvSpPr>
        <p:spPr>
          <a:xfrm>
            <a:off x="7872951" y="5335797"/>
            <a:ext cx="189991" cy="245929"/>
          </a:xfrm>
          <a:prstGeom prst="star5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889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5A5E9B4-ADA4-DEDD-045F-A8071FEC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5A5E9B4-ADA4-DEDD-045F-A8071FEC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Slide Number Placeholder 11">
            <a:extLst>
              <a:ext uri="{FF2B5EF4-FFF2-40B4-BE49-F238E27FC236}">
                <a16:creationId xmlns:a16="http://schemas.microsoft.com/office/drawing/2014/main" id="{F0D27402-453C-4F1F-B069-402FFC3A3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6464" y="6529778"/>
            <a:ext cx="2743200" cy="365125"/>
          </a:xfrm>
        </p:spPr>
        <p:txBody>
          <a:bodyPr/>
          <a:lstStyle/>
          <a:p>
            <a:fld id="{282DF744-59D3-42BE-8429-0F20BCAA3E4D}" type="slidenum">
              <a:rPr lang="en-US" smtClean="0"/>
              <a:t>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A5B7B4-FD0B-4971-80C9-A133AF104285}"/>
              </a:ext>
            </a:extLst>
          </p:cNvPr>
          <p:cNvSpPr txBox="1"/>
          <p:nvPr/>
        </p:nvSpPr>
        <p:spPr>
          <a:xfrm>
            <a:off x="172978" y="292997"/>
            <a:ext cx="112230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24216D"/>
                </a:solidFill>
              </a:rPr>
              <a:t>Value Addi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77780D-E68F-412E-913D-92FF6AD3A913}"/>
              </a:ext>
            </a:extLst>
          </p:cNvPr>
          <p:cNvCxnSpPr/>
          <p:nvPr/>
        </p:nvCxnSpPr>
        <p:spPr>
          <a:xfrm>
            <a:off x="267115" y="744447"/>
            <a:ext cx="1293541" cy="0"/>
          </a:xfrm>
          <a:prstGeom prst="line">
            <a:avLst/>
          </a:prstGeom>
          <a:ln w="57150">
            <a:solidFill>
              <a:srgbClr val="A1C1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FEDBFBA7-D108-4182-89D9-D026CE3AC9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270" y="57528"/>
            <a:ext cx="1219730" cy="36049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8E1A3A6-742F-DBAD-0684-3B19FA4771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788" y="961556"/>
            <a:ext cx="2075406" cy="444730"/>
          </a:xfrm>
          <a:prstGeom prst="rect">
            <a:avLst/>
          </a:prstGeom>
        </p:spPr>
      </p:pic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D0DB2EA3-6894-EEFB-29A3-DDB70E5FABDC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2532194" y="1183921"/>
            <a:ext cx="302289" cy="12700"/>
          </a:xfrm>
          <a:prstGeom prst="bentConnector3">
            <a:avLst>
              <a:gd name="adj1" fmla="val 10094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61DD440-F2F8-65AA-FF03-CF7ADAEE2F6F}"/>
              </a:ext>
            </a:extLst>
          </p:cNvPr>
          <p:cNvGrpSpPr/>
          <p:nvPr/>
        </p:nvGrpSpPr>
        <p:grpSpPr>
          <a:xfrm>
            <a:off x="2945339" y="942091"/>
            <a:ext cx="2075407" cy="2900787"/>
            <a:chOff x="1293371" y="1911845"/>
            <a:chExt cx="3365345" cy="436791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D6CA7AD-76C5-FDF7-C6E9-62040C6E5D27}"/>
                </a:ext>
              </a:extLst>
            </p:cNvPr>
            <p:cNvSpPr/>
            <p:nvPr/>
          </p:nvSpPr>
          <p:spPr>
            <a:xfrm>
              <a:off x="1293371" y="1911845"/>
              <a:ext cx="3365345" cy="436791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71E2889-79AC-0580-77DE-D5AFC41F8A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02003" y="2327048"/>
              <a:ext cx="3037535" cy="64898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8DA71EA-124E-86BA-C9FC-B2D335E44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7550" y="3781785"/>
              <a:ext cx="923925" cy="1139508"/>
            </a:xfrm>
            <a:prstGeom prst="rect">
              <a:avLst/>
            </a:prstGeom>
          </p:spPr>
        </p:pic>
        <p:pic>
          <p:nvPicPr>
            <p:cNvPr id="19" name="Picture 2" descr="Firefox - Wikipedia">
              <a:extLst>
                <a:ext uri="{FF2B5EF4-FFF2-40B4-BE49-F238E27FC236}">
                  <a16:creationId xmlns:a16="http://schemas.microsoft.com/office/drawing/2014/main" id="{67CF1D98-D61E-DF86-3E65-71B56DD3C9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5513" y="3039645"/>
              <a:ext cx="695059" cy="719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9" descr="Icon&#10;&#10;Description automatically generated">
              <a:extLst>
                <a:ext uri="{FF2B5EF4-FFF2-40B4-BE49-F238E27FC236}">
                  <a16:creationId xmlns:a16="http://schemas.microsoft.com/office/drawing/2014/main" id="{A270D93A-EF13-5D75-4044-4860D9640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4386" y="5229976"/>
              <a:ext cx="719027" cy="719027"/>
            </a:xfrm>
            <a:prstGeom prst="rect">
              <a:avLst/>
            </a:prstGeom>
          </p:spPr>
        </p:pic>
        <p:pic>
          <p:nvPicPr>
            <p:cNvPr id="24" name="Picture 6" descr="Microsoft Excel - Wikipedia">
              <a:extLst>
                <a:ext uri="{FF2B5EF4-FFF2-40B4-BE49-F238E27FC236}">
                  <a16:creationId xmlns:a16="http://schemas.microsoft.com/office/drawing/2014/main" id="{8500A87A-C7BB-C581-9B88-EB40296952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2802" y="4242791"/>
              <a:ext cx="542193" cy="503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F07F6F9E-9F90-C45B-B2DC-1D75BD97EA4D}"/>
                </a:ext>
              </a:extLst>
            </p:cNvPr>
            <p:cNvCxnSpPr>
              <a:stCxn id="17" idx="2"/>
              <a:endCxn id="18" idx="0"/>
            </p:cNvCxnSpPr>
            <p:nvPr/>
          </p:nvCxnSpPr>
          <p:spPr>
            <a:xfrm flipH="1">
              <a:off x="1949513" y="2976036"/>
              <a:ext cx="971258" cy="80574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or: Elbow 26">
              <a:extLst>
                <a:ext uri="{FF2B5EF4-FFF2-40B4-BE49-F238E27FC236}">
                  <a16:creationId xmlns:a16="http://schemas.microsoft.com/office/drawing/2014/main" id="{9E043E42-5259-A20F-44CA-355B882A3DFA}"/>
                </a:ext>
              </a:extLst>
            </p:cNvPr>
            <p:cNvCxnSpPr/>
            <p:nvPr/>
          </p:nvCxnSpPr>
          <p:spPr>
            <a:xfrm flipV="1">
              <a:off x="2411475" y="3378910"/>
              <a:ext cx="1024038" cy="972629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or: Elbow 27">
              <a:extLst>
                <a:ext uri="{FF2B5EF4-FFF2-40B4-BE49-F238E27FC236}">
                  <a16:creationId xmlns:a16="http://schemas.microsoft.com/office/drawing/2014/main" id="{4C36800B-2839-C2C6-6CEF-C06BB56EEC69}"/>
                </a:ext>
              </a:extLst>
            </p:cNvPr>
            <p:cNvCxnSpPr>
              <a:stCxn id="18" idx="3"/>
              <a:endCxn id="20" idx="1"/>
            </p:cNvCxnSpPr>
            <p:nvPr/>
          </p:nvCxnSpPr>
          <p:spPr>
            <a:xfrm>
              <a:off x="2411475" y="4351539"/>
              <a:ext cx="1012911" cy="1237951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9D65EAB2-D7D4-1A59-6503-A60E49B1E494}"/>
                </a:ext>
              </a:extLst>
            </p:cNvPr>
            <p:cNvCxnSpPr>
              <a:stCxn id="19" idx="2"/>
              <a:endCxn id="24" idx="0"/>
            </p:cNvCxnSpPr>
            <p:nvPr/>
          </p:nvCxnSpPr>
          <p:spPr>
            <a:xfrm>
              <a:off x="3783043" y="3758672"/>
              <a:ext cx="856" cy="48411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592650BA-ED58-52F4-A41B-1BD4D2B92B7C}"/>
                </a:ext>
              </a:extLst>
            </p:cNvPr>
            <p:cNvCxnSpPr>
              <a:stCxn id="24" idx="2"/>
              <a:endCxn id="20" idx="0"/>
            </p:cNvCxnSpPr>
            <p:nvPr/>
          </p:nvCxnSpPr>
          <p:spPr>
            <a:xfrm>
              <a:off x="3783899" y="4745857"/>
              <a:ext cx="1" cy="48411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30CB3D53-C2C9-7A23-62FD-306CBCCC4244}"/>
              </a:ext>
            </a:extLst>
          </p:cNvPr>
          <p:cNvSpPr txBox="1"/>
          <p:nvPr/>
        </p:nvSpPr>
        <p:spPr>
          <a:xfrm>
            <a:off x="265447" y="1524931"/>
            <a:ext cx="2569036" cy="2272963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Saved </a:t>
            </a:r>
            <a:r>
              <a:rPr lang="en-US" sz="1200" b="1" dirty="0">
                <a:solidFill>
                  <a:prstClr val="black"/>
                </a:solidFill>
              </a:rPr>
              <a:t>~7000 Man hours per month </a:t>
            </a:r>
            <a:r>
              <a:rPr lang="en-US" sz="1200" dirty="0">
                <a:solidFill>
                  <a:prstClr val="black"/>
                </a:solidFill>
              </a:rPr>
              <a:t>amounting to </a:t>
            </a:r>
            <a:r>
              <a:rPr lang="en-US" sz="1200" b="1" dirty="0">
                <a:solidFill>
                  <a:prstClr val="black"/>
                </a:solidFill>
              </a:rPr>
              <a:t>$150K USD </a:t>
            </a:r>
            <a:r>
              <a:rPr lang="en-US" sz="1200" dirty="0">
                <a:solidFill>
                  <a:prstClr val="black"/>
                </a:solidFill>
              </a:rPr>
              <a:t>per month</a:t>
            </a:r>
          </a:p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Downloading </a:t>
            </a:r>
            <a:r>
              <a:rPr lang="en-US" sz="1200" b="1" dirty="0">
                <a:solidFill>
                  <a:prstClr val="black"/>
                </a:solidFill>
              </a:rPr>
              <a:t>350+ reports </a:t>
            </a:r>
            <a:r>
              <a:rPr lang="en-US" sz="1200" dirty="0">
                <a:solidFill>
                  <a:prstClr val="black"/>
                </a:solidFill>
              </a:rPr>
              <a:t>of different brands from SC and VC </a:t>
            </a:r>
            <a:r>
              <a:rPr lang="en-US" sz="1200" b="1" dirty="0">
                <a:solidFill>
                  <a:prstClr val="black"/>
                </a:solidFill>
              </a:rPr>
              <a:t>everyday</a:t>
            </a:r>
            <a:r>
              <a:rPr lang="en-US" sz="1200" dirty="0">
                <a:solidFill>
                  <a:prstClr val="black"/>
                </a:solidFill>
              </a:rPr>
              <a:t> from Feb 2022 onwards</a:t>
            </a:r>
          </a:p>
          <a:p>
            <a:pPr marL="173736" indent="-173736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</a:rPr>
              <a:t>Data validation checks and error reporting for </a:t>
            </a:r>
            <a:r>
              <a:rPr lang="en-US" sz="1200" b="1" dirty="0">
                <a:solidFill>
                  <a:prstClr val="black"/>
                </a:solidFill>
              </a:rPr>
              <a:t>real time monitoring</a:t>
            </a:r>
            <a:endParaRPr lang="en-US" sz="1200" dirty="0">
              <a:effectLst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E404FF1-0609-8DB0-3CB8-8A3B4F7BDBB3}"/>
              </a:ext>
            </a:extLst>
          </p:cNvPr>
          <p:cNvSpPr/>
          <p:nvPr/>
        </p:nvSpPr>
        <p:spPr>
          <a:xfrm>
            <a:off x="2968644" y="4143207"/>
            <a:ext cx="7775556" cy="2370740"/>
          </a:xfrm>
          <a:prstGeom prst="rect">
            <a:avLst/>
          </a:prstGeom>
          <a:solidFill>
            <a:schemeClr val="bg1"/>
          </a:solidFill>
          <a:ln>
            <a:solidFill>
              <a:srgbClr val="2421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F4D5FFD9-66EB-86AE-2174-EFD215F14E24}"/>
              </a:ext>
            </a:extLst>
          </p:cNvPr>
          <p:cNvGrpSpPr/>
          <p:nvPr/>
        </p:nvGrpSpPr>
        <p:grpSpPr>
          <a:xfrm>
            <a:off x="3252146" y="4499954"/>
            <a:ext cx="1391974" cy="900243"/>
            <a:chOff x="2525347" y="4356188"/>
            <a:chExt cx="1391974" cy="900243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DD95974-3DC8-94EE-21E6-7FE269A3806E}"/>
                </a:ext>
              </a:extLst>
            </p:cNvPr>
            <p:cNvSpPr/>
            <p:nvPr/>
          </p:nvSpPr>
          <p:spPr>
            <a:xfrm>
              <a:off x="2693925" y="4356188"/>
              <a:ext cx="1071898" cy="9002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pic>
          <p:nvPicPr>
            <p:cNvPr id="92" name="Picture 2" descr="Chaining Azure Data Factory Activities and Datasets – Paul's Frog ...">
              <a:extLst>
                <a:ext uri="{FF2B5EF4-FFF2-40B4-BE49-F238E27FC236}">
                  <a16:creationId xmlns:a16="http://schemas.microsoft.com/office/drawing/2014/main" id="{470A8257-ACAA-A48B-CA9D-FA57BBDA82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2116" y="4548944"/>
              <a:ext cx="395516" cy="4831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837D31F-A783-910E-E1C1-D97100A73EE9}"/>
                </a:ext>
              </a:extLst>
            </p:cNvPr>
            <p:cNvSpPr txBox="1"/>
            <p:nvPr/>
          </p:nvSpPr>
          <p:spPr>
            <a:xfrm>
              <a:off x="2525347" y="5009447"/>
              <a:ext cx="13919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/>
                <a:t>Azure Data Factory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C967F950-7AA4-E520-C5B4-ABD105251488}"/>
              </a:ext>
            </a:extLst>
          </p:cNvPr>
          <p:cNvGrpSpPr/>
          <p:nvPr/>
        </p:nvGrpSpPr>
        <p:grpSpPr>
          <a:xfrm>
            <a:off x="4736329" y="4603147"/>
            <a:ext cx="1749456" cy="1086086"/>
            <a:chOff x="3570388" y="4372321"/>
            <a:chExt cx="1749456" cy="1086086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54F6453B-842F-A16E-91AE-701FFAF7F2DC}"/>
                </a:ext>
              </a:extLst>
            </p:cNvPr>
            <p:cNvSpPr/>
            <p:nvPr/>
          </p:nvSpPr>
          <p:spPr>
            <a:xfrm>
              <a:off x="3870855" y="4372321"/>
              <a:ext cx="1071898" cy="9002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pic>
          <p:nvPicPr>
            <p:cNvPr id="96" name="Picture 4" descr="Sql Server Logo png download - 512*512 - Free Transparent Azure ...">
              <a:extLst>
                <a:ext uri="{FF2B5EF4-FFF2-40B4-BE49-F238E27FC236}">
                  <a16:creationId xmlns:a16="http://schemas.microsoft.com/office/drawing/2014/main" id="{4EEF1A7C-7B8C-ADCC-A448-4B79479C3A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1269" y="4457992"/>
              <a:ext cx="843269" cy="4871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8E5B56E-6208-8531-1A03-B05108F19AE4}"/>
                </a:ext>
              </a:extLst>
            </p:cNvPr>
            <p:cNvSpPr txBox="1"/>
            <p:nvPr/>
          </p:nvSpPr>
          <p:spPr>
            <a:xfrm>
              <a:off x="3570388" y="4904409"/>
              <a:ext cx="174945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/>
                <a:t>Azure Data  Lake</a:t>
              </a:r>
            </a:p>
            <a:p>
              <a:pPr algn="ctr"/>
              <a:r>
                <a:rPr lang="en-IN" sz="1000" dirty="0"/>
                <a:t>Storage + Delta Lake </a:t>
              </a:r>
            </a:p>
            <a:p>
              <a:pPr algn="ctr"/>
              <a:r>
                <a:rPr lang="en-IN" sz="1000" dirty="0"/>
                <a:t>(Raw, Clean, Aggregate zones)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17F2B8AB-4B68-D469-F5A6-46592C6B2C4F}"/>
              </a:ext>
            </a:extLst>
          </p:cNvPr>
          <p:cNvGrpSpPr/>
          <p:nvPr/>
        </p:nvGrpSpPr>
        <p:grpSpPr>
          <a:xfrm>
            <a:off x="6839617" y="4545158"/>
            <a:ext cx="1866699" cy="1316943"/>
            <a:chOff x="5043374" y="4353950"/>
            <a:chExt cx="1542727" cy="1316943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8780ADB-8BE3-F10A-55CD-202CEAF9855F}"/>
                </a:ext>
              </a:extLst>
            </p:cNvPr>
            <p:cNvSpPr/>
            <p:nvPr/>
          </p:nvSpPr>
          <p:spPr>
            <a:xfrm>
              <a:off x="5043374" y="4353950"/>
              <a:ext cx="1349945" cy="13169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pic>
          <p:nvPicPr>
            <p:cNvPr id="100" name="Picture 6" descr="Azure Databricks — Taygan">
              <a:extLst>
                <a:ext uri="{FF2B5EF4-FFF2-40B4-BE49-F238E27FC236}">
                  <a16:creationId xmlns:a16="http://schemas.microsoft.com/office/drawing/2014/main" id="{3FD30C74-54E2-9463-3066-5EB0A20BA5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1023" y="4481712"/>
              <a:ext cx="579653" cy="5796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CF06EA90-E955-B2B2-3AC6-B2849B103313}"/>
                </a:ext>
              </a:extLst>
            </p:cNvPr>
            <p:cNvSpPr txBox="1"/>
            <p:nvPr/>
          </p:nvSpPr>
          <p:spPr>
            <a:xfrm>
              <a:off x="5054430" y="5057120"/>
              <a:ext cx="153167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/>
                <a:t>Azure Databricks 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2222A2E-BAC9-79D8-90F6-11576EC7DC65}"/>
              </a:ext>
            </a:extLst>
          </p:cNvPr>
          <p:cNvGrpSpPr/>
          <p:nvPr/>
        </p:nvGrpSpPr>
        <p:grpSpPr>
          <a:xfrm>
            <a:off x="9174430" y="4657668"/>
            <a:ext cx="1110095" cy="908473"/>
            <a:chOff x="6762587" y="4356188"/>
            <a:chExt cx="1110095" cy="908473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3E3C5B6C-B8F4-96D1-ACF2-CBED28142C9B}"/>
                </a:ext>
              </a:extLst>
            </p:cNvPr>
            <p:cNvSpPr/>
            <p:nvPr/>
          </p:nvSpPr>
          <p:spPr>
            <a:xfrm>
              <a:off x="6762587" y="4356188"/>
              <a:ext cx="1071898" cy="9002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pic>
          <p:nvPicPr>
            <p:cNvPr id="104" name="Picture 9" descr="Data Integration for Azure Synapse">
              <a:extLst>
                <a:ext uri="{FF2B5EF4-FFF2-40B4-BE49-F238E27FC236}">
                  <a16:creationId xmlns:a16="http://schemas.microsoft.com/office/drawing/2014/main" id="{DB0F5FA8-F485-BEC9-58DB-4371EF146C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0230" y="4394201"/>
              <a:ext cx="436611" cy="483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8DEF4EA-AD9A-36D7-2154-6F9FA005C2B2}"/>
                </a:ext>
              </a:extLst>
            </p:cNvPr>
            <p:cNvSpPr txBox="1"/>
            <p:nvPr/>
          </p:nvSpPr>
          <p:spPr>
            <a:xfrm>
              <a:off x="6826871" y="4864551"/>
              <a:ext cx="104581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000" dirty="0"/>
                <a:t>Azure Synapse</a:t>
              </a:r>
            </a:p>
            <a:p>
              <a:pPr algn="ctr"/>
              <a:r>
                <a:rPr lang="en-IN" sz="1000" dirty="0"/>
                <a:t>Analytics</a:t>
              </a:r>
            </a:p>
          </p:txBody>
        </p:sp>
      </p:grp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C6FAEDF9-CFCA-6523-7D66-0F68C945863D}"/>
              </a:ext>
            </a:extLst>
          </p:cNvPr>
          <p:cNvCxnSpPr>
            <a:cxnSpLocks/>
          </p:cNvCxnSpPr>
          <p:nvPr/>
        </p:nvCxnSpPr>
        <p:spPr>
          <a:xfrm>
            <a:off x="4269643" y="5042637"/>
            <a:ext cx="76715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549CAD17-985F-1AC7-3ED3-9C951A83BEB7}"/>
              </a:ext>
            </a:extLst>
          </p:cNvPr>
          <p:cNvCxnSpPr>
            <a:cxnSpLocks/>
          </p:cNvCxnSpPr>
          <p:nvPr/>
        </p:nvCxnSpPr>
        <p:spPr>
          <a:xfrm flipV="1">
            <a:off x="5939311" y="5049100"/>
            <a:ext cx="1233579" cy="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8" name="Oval 107">
            <a:extLst>
              <a:ext uri="{FF2B5EF4-FFF2-40B4-BE49-F238E27FC236}">
                <a16:creationId xmlns:a16="http://schemas.microsoft.com/office/drawing/2014/main" id="{82657549-C103-4EFB-7886-961799A48F34}"/>
              </a:ext>
            </a:extLst>
          </p:cNvPr>
          <p:cNvSpPr/>
          <p:nvPr/>
        </p:nvSpPr>
        <p:spPr>
          <a:xfrm>
            <a:off x="4635401" y="4923893"/>
            <a:ext cx="202591" cy="202592"/>
          </a:xfrm>
          <a:prstGeom prst="ellipse">
            <a:avLst/>
          </a:prstGeom>
          <a:solidFill>
            <a:srgbClr val="95AF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/>
              <a:t>1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21A74F41-17FC-1C69-E6FA-4D7935F7922C}"/>
              </a:ext>
            </a:extLst>
          </p:cNvPr>
          <p:cNvSpPr/>
          <p:nvPr/>
        </p:nvSpPr>
        <p:spPr>
          <a:xfrm>
            <a:off x="6356770" y="4953611"/>
            <a:ext cx="202591" cy="202592"/>
          </a:xfrm>
          <a:prstGeom prst="ellipse">
            <a:avLst/>
          </a:prstGeom>
          <a:solidFill>
            <a:srgbClr val="95AF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/>
              <a:t>2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DC1645A7-EA4B-1DAA-086A-A82AC783D74D}"/>
              </a:ext>
            </a:extLst>
          </p:cNvPr>
          <p:cNvSpPr txBox="1"/>
          <p:nvPr/>
        </p:nvSpPr>
        <p:spPr>
          <a:xfrm>
            <a:off x="4482302" y="4620906"/>
            <a:ext cx="520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dirty="0"/>
              <a:t>Ingest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C7F5B273-A7F6-1974-5DAE-24CD83A033E9}"/>
              </a:ext>
            </a:extLst>
          </p:cNvPr>
          <p:cNvSpPr txBox="1"/>
          <p:nvPr/>
        </p:nvSpPr>
        <p:spPr>
          <a:xfrm>
            <a:off x="7234505" y="4331054"/>
            <a:ext cx="9089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dirty="0"/>
              <a:t>Prep &amp; Train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748820CD-B910-D894-83B5-38C0C9E2E91A}"/>
              </a:ext>
            </a:extLst>
          </p:cNvPr>
          <p:cNvSpPr/>
          <p:nvPr/>
        </p:nvSpPr>
        <p:spPr>
          <a:xfrm>
            <a:off x="541775" y="3914261"/>
            <a:ext cx="1905432" cy="35709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bg1"/>
                </a:solidFill>
              </a:rPr>
              <a:t>Data Storage &amp; Processing</a:t>
            </a:r>
          </a:p>
        </p:txBody>
      </p:sp>
      <p:pic>
        <p:nvPicPr>
          <p:cNvPr id="114" name="Picture 20" descr="The 5 Components of Azure DevOps - ParkMyCloud">
            <a:extLst>
              <a:ext uri="{FF2B5EF4-FFF2-40B4-BE49-F238E27FC236}">
                <a16:creationId xmlns:a16="http://schemas.microsoft.com/office/drawing/2014/main" id="{9BC93A10-4878-E945-2DA9-72F91D15B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329" y="5913242"/>
            <a:ext cx="828037" cy="51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958BC41F-A7E9-7CB9-9438-087A9F79CB20}"/>
              </a:ext>
            </a:extLst>
          </p:cNvPr>
          <p:cNvCxnSpPr>
            <a:cxnSpLocks/>
            <a:stCxn id="97" idx="2"/>
            <a:endCxn id="114" idx="1"/>
          </p:cNvCxnSpPr>
          <p:nvPr/>
        </p:nvCxnSpPr>
        <p:spPr>
          <a:xfrm rot="16200000" flipH="1">
            <a:off x="5702943" y="5597347"/>
            <a:ext cx="483500" cy="667272"/>
          </a:xfrm>
          <a:prstGeom prst="bentConnector2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A10C0BFE-7525-F872-B60A-EC3325295568}"/>
              </a:ext>
            </a:extLst>
          </p:cNvPr>
          <p:cNvSpPr/>
          <p:nvPr/>
        </p:nvSpPr>
        <p:spPr>
          <a:xfrm>
            <a:off x="5832215" y="6071064"/>
            <a:ext cx="202591" cy="202592"/>
          </a:xfrm>
          <a:prstGeom prst="ellipse">
            <a:avLst/>
          </a:prstGeom>
          <a:solidFill>
            <a:srgbClr val="95AF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/>
              <a:t>4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EFA8672-9C21-D122-4189-7DBA449C2D2C}"/>
              </a:ext>
            </a:extLst>
          </p:cNvPr>
          <p:cNvSpPr txBox="1"/>
          <p:nvPr/>
        </p:nvSpPr>
        <p:spPr>
          <a:xfrm>
            <a:off x="5199766" y="4360440"/>
            <a:ext cx="9089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b="1" dirty="0"/>
              <a:t>Storage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BB58D1A5-258C-3747-F9E3-EA6D8DB3B92D}"/>
              </a:ext>
            </a:extLst>
          </p:cNvPr>
          <p:cNvSpPr txBox="1"/>
          <p:nvPr/>
        </p:nvSpPr>
        <p:spPr>
          <a:xfrm>
            <a:off x="9238799" y="4216198"/>
            <a:ext cx="10076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dirty="0"/>
              <a:t>Model &amp; Serve</a:t>
            </a:r>
          </a:p>
        </p:txBody>
      </p: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F3C05B8E-F487-4753-741C-B821CED92490}"/>
              </a:ext>
            </a:extLst>
          </p:cNvPr>
          <p:cNvCxnSpPr>
            <a:cxnSpLocks/>
            <a:stCxn id="100" idx="3"/>
          </p:cNvCxnSpPr>
          <p:nvPr/>
        </p:nvCxnSpPr>
        <p:spPr>
          <a:xfrm flipV="1">
            <a:off x="8010052" y="4962746"/>
            <a:ext cx="1417475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1" name="Oval 120">
            <a:extLst>
              <a:ext uri="{FF2B5EF4-FFF2-40B4-BE49-F238E27FC236}">
                <a16:creationId xmlns:a16="http://schemas.microsoft.com/office/drawing/2014/main" id="{539E62E5-C90F-31DF-E813-BC6DBA3674C7}"/>
              </a:ext>
            </a:extLst>
          </p:cNvPr>
          <p:cNvSpPr/>
          <p:nvPr/>
        </p:nvSpPr>
        <p:spPr>
          <a:xfrm>
            <a:off x="8519747" y="4861450"/>
            <a:ext cx="202591" cy="202592"/>
          </a:xfrm>
          <a:prstGeom prst="ellipse">
            <a:avLst/>
          </a:prstGeom>
          <a:solidFill>
            <a:srgbClr val="95AF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00" dirty="0"/>
              <a:t>3</a:t>
            </a: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EDCC768B-7FFE-6DAF-F75A-439CED7B41D5}"/>
              </a:ext>
            </a:extLst>
          </p:cNvPr>
          <p:cNvCxnSpPr>
            <a:cxnSpLocks/>
          </p:cNvCxnSpPr>
          <p:nvPr/>
        </p:nvCxnSpPr>
        <p:spPr>
          <a:xfrm>
            <a:off x="7747746" y="2283427"/>
            <a:ext cx="60885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D229D7F-AF61-25A9-0583-C28492A97343}"/>
              </a:ext>
            </a:extLst>
          </p:cNvPr>
          <p:cNvSpPr/>
          <p:nvPr/>
        </p:nvSpPr>
        <p:spPr>
          <a:xfrm>
            <a:off x="6121400" y="1037518"/>
            <a:ext cx="1468980" cy="2805360"/>
          </a:xfrm>
          <a:prstGeom prst="rect">
            <a:avLst/>
          </a:prstGeom>
          <a:solidFill>
            <a:schemeClr val="bg1"/>
          </a:solidFill>
          <a:ln>
            <a:solidFill>
              <a:srgbClr val="2421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A5AE934-001A-CEB4-AF2D-A438660EF28E}"/>
              </a:ext>
            </a:extLst>
          </p:cNvPr>
          <p:cNvSpPr/>
          <p:nvPr/>
        </p:nvSpPr>
        <p:spPr>
          <a:xfrm>
            <a:off x="6121400" y="623380"/>
            <a:ext cx="1468980" cy="2910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bg1"/>
                </a:solidFill>
              </a:rPr>
              <a:t>Data Sources</a:t>
            </a:r>
          </a:p>
        </p:txBody>
      </p:sp>
      <p:pic>
        <p:nvPicPr>
          <p:cNvPr id="133" name="Picture 5" descr="Images and videos | Amazon.com, Inc. - Press Room">
            <a:extLst>
              <a:ext uri="{FF2B5EF4-FFF2-40B4-BE49-F238E27FC236}">
                <a16:creationId xmlns:a16="http://schemas.microsoft.com/office/drawing/2014/main" id="{00674E21-48E6-206F-BAC2-E8EB66DC7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397" y="1260034"/>
            <a:ext cx="1359983" cy="44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7" descr="World's Leading Web Scraping Services Provider USA | X-Byte">
            <a:extLst>
              <a:ext uri="{FF2B5EF4-FFF2-40B4-BE49-F238E27FC236}">
                <a16:creationId xmlns:a16="http://schemas.microsoft.com/office/drawing/2014/main" id="{09A3E441-111D-1149-5131-2E002D2CD7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2068" y="1864215"/>
            <a:ext cx="1145352" cy="238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9">
            <a:extLst>
              <a:ext uri="{FF2B5EF4-FFF2-40B4-BE49-F238E27FC236}">
                <a16:creationId xmlns:a16="http://schemas.microsoft.com/office/drawing/2014/main" id="{8F42BCC7-4C88-D9CD-0934-F82FD87CF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067" y="2283427"/>
            <a:ext cx="1130641" cy="615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11" descr="Price2Spy® – Competitor price monitoring">
            <a:extLst>
              <a:ext uri="{FF2B5EF4-FFF2-40B4-BE49-F238E27FC236}">
                <a16:creationId xmlns:a16="http://schemas.microsoft.com/office/drawing/2014/main" id="{F606EAC5-9ED8-FC79-AF62-F29841373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173" y="3225172"/>
            <a:ext cx="1194535" cy="399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F908F3B5-418A-B002-7CD1-51851A26FEC3}"/>
              </a:ext>
            </a:extLst>
          </p:cNvPr>
          <p:cNvCxnSpPr>
            <a:cxnSpLocks/>
          </p:cNvCxnSpPr>
          <p:nvPr/>
        </p:nvCxnSpPr>
        <p:spPr>
          <a:xfrm>
            <a:off x="5177650" y="1440843"/>
            <a:ext cx="91835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9D943912-29EF-EA9D-C489-8226B6D7FB5A}"/>
              </a:ext>
            </a:extLst>
          </p:cNvPr>
          <p:cNvSpPr/>
          <p:nvPr/>
        </p:nvSpPr>
        <p:spPr>
          <a:xfrm>
            <a:off x="8553818" y="1036686"/>
            <a:ext cx="1488694" cy="2805360"/>
          </a:xfrm>
          <a:prstGeom prst="rect">
            <a:avLst/>
          </a:prstGeom>
          <a:solidFill>
            <a:schemeClr val="bg1"/>
          </a:solidFill>
          <a:ln>
            <a:solidFill>
              <a:srgbClr val="2421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C9768B93-6AA6-54DF-1FB7-FED77E4BD359}"/>
              </a:ext>
            </a:extLst>
          </p:cNvPr>
          <p:cNvSpPr/>
          <p:nvPr/>
        </p:nvSpPr>
        <p:spPr>
          <a:xfrm>
            <a:off x="8556087" y="628005"/>
            <a:ext cx="1472184" cy="29260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bg1"/>
                </a:solidFill>
              </a:rPr>
              <a:t>Data Visualization</a:t>
            </a:r>
          </a:p>
        </p:txBody>
      </p:sp>
      <p:pic>
        <p:nvPicPr>
          <p:cNvPr id="143" name="Picture 2" descr="Tableau CRM - Data Visualization and Einstein Analytics for Nonprofits and  Associations">
            <a:extLst>
              <a:ext uri="{FF2B5EF4-FFF2-40B4-BE49-F238E27FC236}">
                <a16:creationId xmlns:a16="http://schemas.microsoft.com/office/drawing/2014/main" id="{A9C7C532-B475-FA21-65F9-43AE6F9CD1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565" y="1821238"/>
            <a:ext cx="1292722" cy="634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E954ECA5-53C9-0913-9BAA-E9FD4DDC97F7}"/>
              </a:ext>
            </a:extLst>
          </p:cNvPr>
          <p:cNvSpPr txBox="1"/>
          <p:nvPr/>
        </p:nvSpPr>
        <p:spPr>
          <a:xfrm>
            <a:off x="8622991" y="2666120"/>
            <a:ext cx="1474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CRM Analytics</a:t>
            </a:r>
          </a:p>
          <a:p>
            <a:pPr algn="ctr"/>
            <a:r>
              <a:rPr lang="en-IN" sz="1000" dirty="0"/>
              <a:t>(formerly Tableau CRM)</a:t>
            </a:r>
          </a:p>
        </p:txBody>
      </p: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E10D5261-F46E-E74B-8078-70B20A20E076}"/>
              </a:ext>
            </a:extLst>
          </p:cNvPr>
          <p:cNvCxnSpPr>
            <a:cxnSpLocks/>
          </p:cNvCxnSpPr>
          <p:nvPr/>
        </p:nvCxnSpPr>
        <p:spPr>
          <a:xfrm>
            <a:off x="6933647" y="3711997"/>
            <a:ext cx="0" cy="5976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3A6A6FC3-2033-6A56-7126-A2B009322FAB}"/>
              </a:ext>
            </a:extLst>
          </p:cNvPr>
          <p:cNvCxnSpPr>
            <a:cxnSpLocks/>
          </p:cNvCxnSpPr>
          <p:nvPr/>
        </p:nvCxnSpPr>
        <p:spPr>
          <a:xfrm flipV="1">
            <a:off x="9304879" y="3699418"/>
            <a:ext cx="0" cy="3498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3F7DF9A1-8A97-0963-45DA-8AFCFCB885BB}"/>
              </a:ext>
            </a:extLst>
          </p:cNvPr>
          <p:cNvSpPr txBox="1"/>
          <p:nvPr/>
        </p:nvSpPr>
        <p:spPr>
          <a:xfrm>
            <a:off x="292051" y="4363930"/>
            <a:ext cx="2569036" cy="231552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CICD pipelines are fully dynamic and automated for all resources by leveraging </a:t>
            </a:r>
            <a:r>
              <a:rPr lang="en-US" sz="1200" b="1" dirty="0">
                <a:solidFill>
                  <a:prstClr val="black"/>
                </a:solidFill>
              </a:rPr>
              <a:t>ARM template - Azure resource management</a:t>
            </a:r>
          </a:p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prstClr val="black"/>
                </a:solidFill>
              </a:rPr>
              <a:t>Pipelines are completely dynamic</a:t>
            </a:r>
            <a:r>
              <a:rPr lang="en-US" sz="1200" dirty="0">
                <a:solidFill>
                  <a:prstClr val="black"/>
                </a:solidFill>
              </a:rPr>
              <a:t>; file format (JSON, parquet) or data load (incremental/ full load)</a:t>
            </a:r>
          </a:p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prstClr val="black"/>
                </a:solidFill>
              </a:rPr>
              <a:t>Coding standards </a:t>
            </a:r>
            <a:r>
              <a:rPr lang="en-US" sz="1200" dirty="0">
                <a:solidFill>
                  <a:prstClr val="black"/>
                </a:solidFill>
              </a:rPr>
              <a:t>is </a:t>
            </a:r>
            <a:r>
              <a:rPr lang="en-US" sz="1200" b="1" dirty="0">
                <a:solidFill>
                  <a:prstClr val="black"/>
                </a:solidFill>
              </a:rPr>
              <a:t>embedded into the deployment </a:t>
            </a:r>
            <a:r>
              <a:rPr lang="en-US" sz="1200" dirty="0">
                <a:solidFill>
                  <a:prstClr val="black"/>
                </a:solidFill>
              </a:rPr>
              <a:t>proces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470B598-5C98-C41F-1139-924D3D2B5C56}"/>
              </a:ext>
            </a:extLst>
          </p:cNvPr>
          <p:cNvSpPr txBox="1"/>
          <p:nvPr/>
        </p:nvSpPr>
        <p:spPr>
          <a:xfrm>
            <a:off x="10234110" y="963638"/>
            <a:ext cx="1732155" cy="19906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prstClr val="black"/>
                </a:solidFill>
              </a:rPr>
              <a:t>Helping the client build a ~$60M business </a:t>
            </a:r>
            <a:r>
              <a:rPr lang="en-US" sz="1200" dirty="0">
                <a:solidFill>
                  <a:prstClr val="black"/>
                </a:solidFill>
              </a:rPr>
              <a:t>in the coming 2 years</a:t>
            </a:r>
          </a:p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</a:rPr>
              <a:t>Developing the self-serve products on Salesforce using the cloud BI tool TCRM</a:t>
            </a:r>
          </a:p>
        </p:txBody>
      </p:sp>
    </p:spTree>
    <p:extLst>
      <p:ext uri="{BB962C8B-B14F-4D97-AF65-F5344CB8AC3E}">
        <p14:creationId xmlns:p14="http://schemas.microsoft.com/office/powerpoint/2010/main" val="2870390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152" grpId="0" animBg="1"/>
      <p:bldP spid="15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6311A-003F-9134-2F19-0CEB2EF2F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49C6B2-5B87-4C80-B06E-399EEAAFADA2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7E9D08-70BB-F751-F915-AE4493F3C3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90066"/>
            <a:ext cx="12192000" cy="4052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848A11D-BAF8-EFCC-F00F-EDDFA21CD065}"/>
              </a:ext>
            </a:extLst>
          </p:cNvPr>
          <p:cNvSpPr txBox="1"/>
          <p:nvPr/>
        </p:nvSpPr>
        <p:spPr>
          <a:xfrm>
            <a:off x="172978" y="292997"/>
            <a:ext cx="112230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24216D"/>
                </a:solidFill>
              </a:rPr>
              <a:t>CURRENT SITUATIO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7189D5-770E-0BFA-8A6D-CC93A7F71F35}"/>
              </a:ext>
            </a:extLst>
          </p:cNvPr>
          <p:cNvCxnSpPr/>
          <p:nvPr/>
        </p:nvCxnSpPr>
        <p:spPr>
          <a:xfrm>
            <a:off x="267115" y="744447"/>
            <a:ext cx="1293541" cy="0"/>
          </a:xfrm>
          <a:prstGeom prst="line">
            <a:avLst/>
          </a:prstGeom>
          <a:ln w="57150">
            <a:solidFill>
              <a:srgbClr val="A1C1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021B792-8509-9362-2C71-E04A345CF28F}"/>
              </a:ext>
            </a:extLst>
          </p:cNvPr>
          <p:cNvSpPr txBox="1"/>
          <p:nvPr/>
        </p:nvSpPr>
        <p:spPr>
          <a:xfrm>
            <a:off x="685800" y="605806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/>
              <a:t>https://www.precisionecontrol.com/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52494D84-123D-D25C-CCE5-CF758C1F0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4744384"/>
              </p:ext>
            </p:extLst>
          </p:nvPr>
        </p:nvGraphicFramePr>
        <p:xfrm>
          <a:off x="267115" y="869866"/>
          <a:ext cx="11657770" cy="1399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25708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2BB24D90C79C428D4DB1F26FF51507" ma:contentTypeVersion="4" ma:contentTypeDescription="Create a new document." ma:contentTypeScope="" ma:versionID="415deacbec02513f89508e8abc4d04d7">
  <xsd:schema xmlns:xsd="http://www.w3.org/2001/XMLSchema" xmlns:xs="http://www.w3.org/2001/XMLSchema" xmlns:p="http://schemas.microsoft.com/office/2006/metadata/properties" xmlns:ns2="885e78e5-c422-463b-b5d5-dc17fc4e2b93" targetNamespace="http://schemas.microsoft.com/office/2006/metadata/properties" ma:root="true" ma:fieldsID="13a5f3559b78e1763031c88319b38a9f" ns2:_="">
    <xsd:import namespace="885e78e5-c422-463b-b5d5-dc17fc4e2b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5e78e5-c422-463b-b5d5-dc17fc4e2b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98CB73-F702-4B4D-8D7F-DBD90F05AE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05FC7F-7094-448F-803D-C8E45864066B}">
  <ds:schemaRefs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  <ds:schemaRef ds:uri="33cc0e52-40e9-4833-8f9d-57474669a40d"/>
    <ds:schemaRef ds:uri="63cfcb72-8cd7-47ff-a562-2d67eeebc871"/>
  </ds:schemaRefs>
</ds:datastoreItem>
</file>

<file path=customXml/itemProps3.xml><?xml version="1.0" encoding="utf-8"?>
<ds:datastoreItem xmlns:ds="http://schemas.openxmlformats.org/officeDocument/2006/customXml" ds:itemID="{C2765A4B-47E0-4840-A64B-14AF3A9143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5e78e5-c422-463b-b5d5-dc17fc4e2b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85</TotalTime>
  <Words>347</Words>
  <Application>Microsoft Office PowerPoint</Application>
  <PresentationFormat>Widescreen</PresentationFormat>
  <Paragraphs>7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umita Gandhi</dc:creator>
  <cp:lastModifiedBy>Deekshit Chitwala</cp:lastModifiedBy>
  <cp:revision>222</cp:revision>
  <dcterms:created xsi:type="dcterms:W3CDTF">2021-08-05T05:57:22Z</dcterms:created>
  <dcterms:modified xsi:type="dcterms:W3CDTF">2022-12-13T05:0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2BB24D90C79C428D4DB1F26FF51507</vt:lpwstr>
  </property>
</Properties>
</file>